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0" r:id="rId4"/>
    <p:sldMasterId id="2147483669" r:id="rId5"/>
  </p:sldMasterIdLst>
  <p:notesMasterIdLst>
    <p:notesMasterId r:id="rId74"/>
  </p:notesMasterIdLst>
  <p:handoutMasterIdLst>
    <p:handoutMasterId r:id="rId75"/>
  </p:handoutMasterIdLst>
  <p:sldIdLst>
    <p:sldId id="1010" r:id="rId6"/>
    <p:sldId id="1020" r:id="rId7"/>
    <p:sldId id="1029" r:id="rId8"/>
    <p:sldId id="1132" r:id="rId9"/>
    <p:sldId id="1176" r:id="rId10"/>
    <p:sldId id="1174" r:id="rId11"/>
    <p:sldId id="1175" r:id="rId12"/>
    <p:sldId id="1038" r:id="rId13"/>
    <p:sldId id="1081" r:id="rId14"/>
    <p:sldId id="1082" r:id="rId15"/>
    <p:sldId id="1136" r:id="rId16"/>
    <p:sldId id="1137" r:id="rId17"/>
    <p:sldId id="1099" r:id="rId18"/>
    <p:sldId id="1030" r:id="rId19"/>
    <p:sldId id="1044" r:id="rId20"/>
    <p:sldId id="1049" r:id="rId21"/>
    <p:sldId id="1056" r:id="rId22"/>
    <p:sldId id="1052" r:id="rId23"/>
    <p:sldId id="1110" r:id="rId24"/>
    <p:sldId id="1133" r:id="rId25"/>
    <p:sldId id="1141" r:id="rId26"/>
    <p:sldId id="1109" r:id="rId27"/>
    <p:sldId id="1199" r:id="rId28"/>
    <p:sldId id="1200" r:id="rId29"/>
    <p:sldId id="1201" r:id="rId30"/>
    <p:sldId id="1040" r:id="rId31"/>
    <p:sldId id="1178" r:id="rId32"/>
    <p:sldId id="1177" r:id="rId33"/>
    <p:sldId id="1179" r:id="rId34"/>
    <p:sldId id="1180" r:id="rId35"/>
    <p:sldId id="1181" r:id="rId36"/>
    <p:sldId id="1182" r:id="rId37"/>
    <p:sldId id="1183" r:id="rId38"/>
    <p:sldId id="1023" r:id="rId39"/>
    <p:sldId id="1194" r:id="rId40"/>
    <p:sldId id="1195" r:id="rId41"/>
    <p:sldId id="1197" r:id="rId42"/>
    <p:sldId id="1073" r:id="rId43"/>
    <p:sldId id="1171" r:id="rId44"/>
    <p:sldId id="1035" r:id="rId45"/>
    <p:sldId id="1026" r:id="rId46"/>
    <p:sldId id="1142" r:id="rId47"/>
    <p:sldId id="1143" r:id="rId48"/>
    <p:sldId id="1144" r:id="rId49"/>
    <p:sldId id="1146" r:id="rId50"/>
    <p:sldId id="1151" r:id="rId51"/>
    <p:sldId id="1152" r:id="rId52"/>
    <p:sldId id="1153" r:id="rId53"/>
    <p:sldId id="1154" r:id="rId54"/>
    <p:sldId id="1157" r:id="rId55"/>
    <p:sldId id="1156" r:id="rId56"/>
    <p:sldId id="1158" r:id="rId57"/>
    <p:sldId id="1159" r:id="rId58"/>
    <p:sldId id="1091" r:id="rId59"/>
    <p:sldId id="1080" r:id="rId60"/>
    <p:sldId id="1094" r:id="rId61"/>
    <p:sldId id="1096" r:id="rId62"/>
    <p:sldId id="1095" r:id="rId63"/>
    <p:sldId id="1092" r:id="rId64"/>
    <p:sldId id="1160" r:id="rId65"/>
    <p:sldId id="1161" r:id="rId66"/>
    <p:sldId id="1162" r:id="rId67"/>
    <p:sldId id="1203" r:id="rId68"/>
    <p:sldId id="1164" r:id="rId69"/>
    <p:sldId id="1059" r:id="rId70"/>
    <p:sldId id="1184" r:id="rId71"/>
    <p:sldId id="1046" r:id="rId72"/>
    <p:sldId id="1060" r:id="rId73"/>
  </p:sldIdLst>
  <p:sldSz cx="9144000" cy="6858000" type="screen4x3"/>
  <p:notesSz cx="6797675" cy="98742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ggelis Igglesis" initials="VI" lastIdx="7" clrIdx="0">
    <p:extLst/>
  </p:cmAuthor>
  <p:cmAuthor id="2" name="Igglesis, Vaggelis" initials="IV" lastIdx="7" clrIdx="1">
    <p:extLst/>
  </p:cmAuthor>
  <p:cmAuthor id="3" name="Marinescu, Catalin" initials="MC" lastIdx="38" clrIdx="2">
    <p:extLst>
      <p:ext uri="{19B8F6BF-5375-455C-9EA6-DF929625EA0E}">
        <p15:presenceInfo xmlns:p15="http://schemas.microsoft.com/office/powerpoint/2012/main" userId="S-1-5-21-8740799-900759487-1415713722-57632" providerId="AD"/>
      </p:ext>
    </p:extLst>
  </p:cmAuthor>
  <p:cmAuthor id="4" name="Author" initials="Author" lastIdx="3" clrIdx="3">
    <p:extLst>
      <p:ext uri="{19B8F6BF-5375-455C-9EA6-DF929625EA0E}">
        <p15:presenceInfo xmlns:p15="http://schemas.microsoft.com/office/powerpoint/2012/main" userId="Auth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8235"/>
    <a:srgbClr val="5B9BD5"/>
    <a:srgbClr val="44546A"/>
    <a:srgbClr val="7C7C7C"/>
    <a:srgbClr val="498BC9"/>
    <a:srgbClr val="EAEFF7"/>
    <a:srgbClr val="385723"/>
    <a:srgbClr val="4D7CB0"/>
    <a:srgbClr val="14496B"/>
    <a:srgbClr val="BF8D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14" autoAdjust="0"/>
    <p:restoredTop sz="75256" autoAdjust="0"/>
  </p:normalViewPr>
  <p:slideViewPr>
    <p:cSldViewPr>
      <p:cViewPr varScale="1">
        <p:scale>
          <a:sx n="110" d="100"/>
          <a:sy n="110" d="100"/>
        </p:scale>
        <p:origin x="102" y="27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notesViewPr>
    <p:cSldViewPr>
      <p:cViewPr varScale="1">
        <p:scale>
          <a:sx n="79" d="100"/>
          <a:sy n="79" d="100"/>
        </p:scale>
        <p:origin x="3954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notesMaster" Target="notesMasters/notesMaster1.xml"/><Relationship Id="rId79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6D8F6C-93A4-4660-B589-BD4C4AB4C22B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BA52537-1E8E-46D7-8392-A64E3A37D4E0}">
      <dgm:prSet phldrT="[Text]" custT="1"/>
      <dgm:spPr/>
      <dgm:t>
        <a:bodyPr/>
        <a:lstStyle/>
        <a:p>
          <a:r>
            <a:rPr lang="ar-EG" sz="2800" dirty="0" smtClean="0">
              <a:latin typeface="Traditional Arabic" panose="02020603050405020304" pitchFamily="18" charset="-78"/>
              <a:cs typeface="Traditional Arabic" panose="02020603050405020304" pitchFamily="18" charset="-78"/>
            </a:rPr>
            <a:t>الاتحاد الدولي للاتصالات</a:t>
          </a:r>
          <a:endParaRPr lang="en-US" sz="2800" dirty="0">
            <a:latin typeface="Traditional Arabic" panose="02020603050405020304" pitchFamily="18" charset="-78"/>
            <a:cs typeface="Traditional Arabic" panose="02020603050405020304" pitchFamily="18" charset="-78"/>
          </a:endParaRPr>
        </a:p>
      </dgm:t>
    </dgm:pt>
    <dgm:pt modelId="{CD66304F-58B6-4876-9CF9-4E7E2DB8D1EC}" type="parTrans" cxnId="{4AF8B79A-8B85-4D24-8E15-E4C1F62AC12C}">
      <dgm:prSet/>
      <dgm:spPr/>
      <dgm:t>
        <a:bodyPr/>
        <a:lstStyle/>
        <a:p>
          <a:endParaRPr lang="en-US"/>
        </a:p>
      </dgm:t>
    </dgm:pt>
    <dgm:pt modelId="{9DBCC95F-8A6A-4BC4-89E5-D1926D2BE5EB}" type="sibTrans" cxnId="{4AF8B79A-8B85-4D24-8E15-E4C1F62AC12C}">
      <dgm:prSet/>
      <dgm:spPr/>
      <dgm:t>
        <a:bodyPr/>
        <a:lstStyle/>
        <a:p>
          <a:endParaRPr lang="en-US"/>
        </a:p>
      </dgm:t>
    </dgm:pt>
    <dgm:pt modelId="{91D6176E-C086-4709-ABBF-C8E13BB1EBD1}">
      <dgm:prSet phldrT="[Text]" custT="1"/>
      <dgm:spPr/>
      <dgm:t>
        <a:bodyPr/>
        <a:lstStyle/>
        <a:p>
          <a:r>
            <a:rPr lang="ar-EG" sz="4000" dirty="0" smtClean="0">
              <a:latin typeface="Traditional Arabic" panose="02020603050405020304" pitchFamily="18" charset="-78"/>
              <a:cs typeface="Traditional Arabic" panose="02020603050405020304" pitchFamily="18" charset="-78"/>
            </a:rPr>
            <a:t>مواطن القوة</a:t>
          </a:r>
          <a:endParaRPr lang="en-US" sz="4000" dirty="0">
            <a:latin typeface="Traditional Arabic" panose="02020603050405020304" pitchFamily="18" charset="-78"/>
            <a:cs typeface="Traditional Arabic" panose="02020603050405020304" pitchFamily="18" charset="-78"/>
          </a:endParaRPr>
        </a:p>
      </dgm:t>
    </dgm:pt>
    <dgm:pt modelId="{5FA3323E-30C0-4DF9-A164-ED7E0490D923}" type="parTrans" cxnId="{BE99CABE-6D72-49F3-B90E-7912E19FA79D}">
      <dgm:prSet/>
      <dgm:spPr/>
      <dgm:t>
        <a:bodyPr/>
        <a:lstStyle/>
        <a:p>
          <a:endParaRPr lang="en-US"/>
        </a:p>
      </dgm:t>
    </dgm:pt>
    <dgm:pt modelId="{387404B6-8B71-4CD5-96BC-6D4F401B56BC}" type="sibTrans" cxnId="{BE99CABE-6D72-49F3-B90E-7912E19FA79D}">
      <dgm:prSet/>
      <dgm:spPr/>
      <dgm:t>
        <a:bodyPr/>
        <a:lstStyle/>
        <a:p>
          <a:endParaRPr lang="en-US"/>
        </a:p>
      </dgm:t>
    </dgm:pt>
    <dgm:pt modelId="{10C2FF6E-E311-4CEC-8668-8851F61F72FC}">
      <dgm:prSet phldrT="[Text]" custT="1"/>
      <dgm:spPr/>
      <dgm:t>
        <a:bodyPr/>
        <a:lstStyle/>
        <a:p>
          <a:r>
            <a:rPr lang="ar-EG" sz="4000" dirty="0" smtClean="0">
              <a:latin typeface="Traditional Arabic" panose="02020603050405020304" pitchFamily="18" charset="-78"/>
              <a:cs typeface="Traditional Arabic" panose="02020603050405020304" pitchFamily="18" charset="-78"/>
            </a:rPr>
            <a:t>نقاط الضعف</a:t>
          </a:r>
          <a:endParaRPr lang="en-US" sz="4000" dirty="0">
            <a:latin typeface="Traditional Arabic" panose="02020603050405020304" pitchFamily="18" charset="-78"/>
            <a:cs typeface="Traditional Arabic" panose="02020603050405020304" pitchFamily="18" charset="-78"/>
          </a:endParaRPr>
        </a:p>
      </dgm:t>
    </dgm:pt>
    <dgm:pt modelId="{066F14B1-6E6A-4ECC-B0A0-5E0512AF9B11}" type="parTrans" cxnId="{85D6CD08-DC7A-4095-BA08-12FEF4CD2723}">
      <dgm:prSet/>
      <dgm:spPr/>
      <dgm:t>
        <a:bodyPr/>
        <a:lstStyle/>
        <a:p>
          <a:endParaRPr lang="en-US"/>
        </a:p>
      </dgm:t>
    </dgm:pt>
    <dgm:pt modelId="{B86F39A0-1308-4E75-9756-9933FD806322}" type="sibTrans" cxnId="{85D6CD08-DC7A-4095-BA08-12FEF4CD2723}">
      <dgm:prSet/>
      <dgm:spPr/>
      <dgm:t>
        <a:bodyPr/>
        <a:lstStyle/>
        <a:p>
          <a:endParaRPr lang="en-US"/>
        </a:p>
      </dgm:t>
    </dgm:pt>
    <dgm:pt modelId="{45A9BF0C-BA5F-45E5-A5CB-04577C39EEB0}">
      <dgm:prSet phldrT="[Text]" custT="1"/>
      <dgm:spPr/>
      <dgm:t>
        <a:bodyPr/>
        <a:lstStyle/>
        <a:p>
          <a:r>
            <a:rPr lang="ar-EG" sz="4000" dirty="0" smtClean="0">
              <a:latin typeface="Traditional Arabic" panose="02020603050405020304" pitchFamily="18" charset="-78"/>
              <a:cs typeface="Traditional Arabic" panose="02020603050405020304" pitchFamily="18" charset="-78"/>
            </a:rPr>
            <a:t>الفرص المتاحة</a:t>
          </a:r>
          <a:endParaRPr lang="en-US" sz="4000" dirty="0">
            <a:latin typeface="Traditional Arabic" panose="02020603050405020304" pitchFamily="18" charset="-78"/>
            <a:cs typeface="Traditional Arabic" panose="02020603050405020304" pitchFamily="18" charset="-78"/>
          </a:endParaRPr>
        </a:p>
      </dgm:t>
    </dgm:pt>
    <dgm:pt modelId="{0BF5A467-27F4-4A74-899A-077603EC7AD2}" type="parTrans" cxnId="{F6CE957E-856F-4483-BD11-168CAC7E8D93}">
      <dgm:prSet/>
      <dgm:spPr/>
      <dgm:t>
        <a:bodyPr/>
        <a:lstStyle/>
        <a:p>
          <a:endParaRPr lang="en-US"/>
        </a:p>
      </dgm:t>
    </dgm:pt>
    <dgm:pt modelId="{57ECB618-AEEB-4E27-988A-EE13F765F48E}" type="sibTrans" cxnId="{F6CE957E-856F-4483-BD11-168CAC7E8D93}">
      <dgm:prSet/>
      <dgm:spPr/>
      <dgm:t>
        <a:bodyPr/>
        <a:lstStyle/>
        <a:p>
          <a:endParaRPr lang="en-US"/>
        </a:p>
      </dgm:t>
    </dgm:pt>
    <dgm:pt modelId="{0A112098-0319-4AF5-B9F7-289C1A83188F}">
      <dgm:prSet phldrT="[Text]" custT="1"/>
      <dgm:spPr/>
      <dgm:t>
        <a:bodyPr/>
        <a:lstStyle/>
        <a:p>
          <a:r>
            <a:rPr lang="ar-EG" sz="4000" dirty="0" smtClean="0">
              <a:latin typeface="Traditional Arabic" panose="02020603050405020304" pitchFamily="18" charset="-78"/>
              <a:cs typeface="Traditional Arabic" panose="02020603050405020304" pitchFamily="18" charset="-78"/>
            </a:rPr>
            <a:t>المخاطر</a:t>
          </a:r>
          <a:endParaRPr lang="en-US" sz="4000" dirty="0">
            <a:latin typeface="Traditional Arabic" panose="02020603050405020304" pitchFamily="18" charset="-78"/>
            <a:cs typeface="Traditional Arabic" panose="02020603050405020304" pitchFamily="18" charset="-78"/>
          </a:endParaRPr>
        </a:p>
      </dgm:t>
    </dgm:pt>
    <dgm:pt modelId="{79D48734-1E6C-406F-B5FA-D5D303582229}" type="parTrans" cxnId="{81760B34-6F36-4F30-85C5-C3E86ECEC4E4}">
      <dgm:prSet/>
      <dgm:spPr/>
      <dgm:t>
        <a:bodyPr/>
        <a:lstStyle/>
        <a:p>
          <a:endParaRPr lang="en-US"/>
        </a:p>
      </dgm:t>
    </dgm:pt>
    <dgm:pt modelId="{F33A2E6A-F773-4667-BB49-2075B6E11A1B}" type="sibTrans" cxnId="{81760B34-6F36-4F30-85C5-C3E86ECEC4E4}">
      <dgm:prSet/>
      <dgm:spPr/>
      <dgm:t>
        <a:bodyPr/>
        <a:lstStyle/>
        <a:p>
          <a:endParaRPr lang="en-US"/>
        </a:p>
      </dgm:t>
    </dgm:pt>
    <dgm:pt modelId="{C35562A1-F516-45AD-A3FE-95B1EBFDCD95}" type="pres">
      <dgm:prSet presAssocID="{7A6D8F6C-93A4-4660-B589-BD4C4AB4C22B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4A94E58-88CE-4F09-9809-6760D212B2F4}" type="pres">
      <dgm:prSet presAssocID="{7A6D8F6C-93A4-4660-B589-BD4C4AB4C22B}" presName="matrix" presStyleCnt="0"/>
      <dgm:spPr/>
    </dgm:pt>
    <dgm:pt modelId="{B9531CE4-081F-40B0-A286-C3B235212B9B}" type="pres">
      <dgm:prSet presAssocID="{7A6D8F6C-93A4-4660-B589-BD4C4AB4C22B}" presName="tile1" presStyleLbl="node1" presStyleIdx="0" presStyleCnt="4"/>
      <dgm:spPr/>
      <dgm:t>
        <a:bodyPr/>
        <a:lstStyle/>
        <a:p>
          <a:endParaRPr lang="en-US"/>
        </a:p>
      </dgm:t>
    </dgm:pt>
    <dgm:pt modelId="{0877119B-8EB7-448F-A0BE-5E78ABE49ACC}" type="pres">
      <dgm:prSet presAssocID="{7A6D8F6C-93A4-4660-B589-BD4C4AB4C22B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482DBEF-BE4A-4702-914A-E60C1E559470}" type="pres">
      <dgm:prSet presAssocID="{7A6D8F6C-93A4-4660-B589-BD4C4AB4C22B}" presName="tile2" presStyleLbl="node1" presStyleIdx="1" presStyleCnt="4"/>
      <dgm:spPr/>
      <dgm:t>
        <a:bodyPr/>
        <a:lstStyle/>
        <a:p>
          <a:endParaRPr lang="en-US"/>
        </a:p>
      </dgm:t>
    </dgm:pt>
    <dgm:pt modelId="{AED98A2E-C285-4B17-B9C9-AF9A346B36B8}" type="pres">
      <dgm:prSet presAssocID="{7A6D8F6C-93A4-4660-B589-BD4C4AB4C22B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AAB971-E2C6-4562-AB25-A77EECABF792}" type="pres">
      <dgm:prSet presAssocID="{7A6D8F6C-93A4-4660-B589-BD4C4AB4C22B}" presName="tile3" presStyleLbl="node1" presStyleIdx="2" presStyleCnt="4" custLinFactNeighborX="-1450"/>
      <dgm:spPr/>
      <dgm:t>
        <a:bodyPr/>
        <a:lstStyle/>
        <a:p>
          <a:endParaRPr lang="en-US"/>
        </a:p>
      </dgm:t>
    </dgm:pt>
    <dgm:pt modelId="{18C445C9-6205-4703-8445-8D58606ADACB}" type="pres">
      <dgm:prSet presAssocID="{7A6D8F6C-93A4-4660-B589-BD4C4AB4C22B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0F8BF4-B18B-41AD-934A-FB26A7F1A78C}" type="pres">
      <dgm:prSet presAssocID="{7A6D8F6C-93A4-4660-B589-BD4C4AB4C22B}" presName="tile4" presStyleLbl="node1" presStyleIdx="3" presStyleCnt="4"/>
      <dgm:spPr/>
      <dgm:t>
        <a:bodyPr/>
        <a:lstStyle/>
        <a:p>
          <a:endParaRPr lang="en-US"/>
        </a:p>
      </dgm:t>
    </dgm:pt>
    <dgm:pt modelId="{698EE412-2481-4880-AF1E-CF93AB6DB5A9}" type="pres">
      <dgm:prSet presAssocID="{7A6D8F6C-93A4-4660-B589-BD4C4AB4C22B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90B9AF-CD4E-4DDC-82F2-58DF53A7F896}" type="pres">
      <dgm:prSet presAssocID="{7A6D8F6C-93A4-4660-B589-BD4C4AB4C22B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8825C9B7-D3B1-4044-A51B-52AF4BCFD592}" type="presOf" srcId="{45A9BF0C-BA5F-45E5-A5CB-04577C39EEB0}" destId="{18C445C9-6205-4703-8445-8D58606ADACB}" srcOrd="1" destOrd="0" presId="urn:microsoft.com/office/officeart/2005/8/layout/matrix1"/>
    <dgm:cxn modelId="{DACCD7D0-3151-4F23-B77D-2967EE3C1270}" type="presOf" srcId="{7A6D8F6C-93A4-4660-B589-BD4C4AB4C22B}" destId="{C35562A1-F516-45AD-A3FE-95B1EBFDCD95}" srcOrd="0" destOrd="0" presId="urn:microsoft.com/office/officeart/2005/8/layout/matrix1"/>
    <dgm:cxn modelId="{FD6C5204-6B84-4F5E-9DF5-3B8450674299}" type="presOf" srcId="{0A112098-0319-4AF5-B9F7-289C1A83188F}" destId="{7E0F8BF4-B18B-41AD-934A-FB26A7F1A78C}" srcOrd="0" destOrd="0" presId="urn:microsoft.com/office/officeart/2005/8/layout/matrix1"/>
    <dgm:cxn modelId="{782191E4-322D-4F6A-9FC0-0C8B8586BA8E}" type="presOf" srcId="{45A9BF0C-BA5F-45E5-A5CB-04577C39EEB0}" destId="{F1AAB971-E2C6-4562-AB25-A77EECABF792}" srcOrd="0" destOrd="0" presId="urn:microsoft.com/office/officeart/2005/8/layout/matrix1"/>
    <dgm:cxn modelId="{6BCFDD0B-7A25-4677-B364-F818A9CC6DD2}" type="presOf" srcId="{10C2FF6E-E311-4CEC-8668-8851F61F72FC}" destId="{AED98A2E-C285-4B17-B9C9-AF9A346B36B8}" srcOrd="1" destOrd="0" presId="urn:microsoft.com/office/officeart/2005/8/layout/matrix1"/>
    <dgm:cxn modelId="{F85A4CF3-F9F9-4571-8900-81FC16C55E97}" type="presOf" srcId="{0A112098-0319-4AF5-B9F7-289C1A83188F}" destId="{698EE412-2481-4880-AF1E-CF93AB6DB5A9}" srcOrd="1" destOrd="0" presId="urn:microsoft.com/office/officeart/2005/8/layout/matrix1"/>
    <dgm:cxn modelId="{4AF8B79A-8B85-4D24-8E15-E4C1F62AC12C}" srcId="{7A6D8F6C-93A4-4660-B589-BD4C4AB4C22B}" destId="{FBA52537-1E8E-46D7-8392-A64E3A37D4E0}" srcOrd="0" destOrd="0" parTransId="{CD66304F-58B6-4876-9CF9-4E7E2DB8D1EC}" sibTransId="{9DBCC95F-8A6A-4BC4-89E5-D1926D2BE5EB}"/>
    <dgm:cxn modelId="{F6CE957E-856F-4483-BD11-168CAC7E8D93}" srcId="{FBA52537-1E8E-46D7-8392-A64E3A37D4E0}" destId="{45A9BF0C-BA5F-45E5-A5CB-04577C39EEB0}" srcOrd="2" destOrd="0" parTransId="{0BF5A467-27F4-4A74-899A-077603EC7AD2}" sibTransId="{57ECB618-AEEB-4E27-988A-EE13F765F48E}"/>
    <dgm:cxn modelId="{12E64269-A349-4D02-9353-5F8E8BFEBF9C}" type="presOf" srcId="{10C2FF6E-E311-4CEC-8668-8851F61F72FC}" destId="{E482DBEF-BE4A-4702-914A-E60C1E559470}" srcOrd="0" destOrd="0" presId="urn:microsoft.com/office/officeart/2005/8/layout/matrix1"/>
    <dgm:cxn modelId="{35E1573D-B0AD-421D-9D38-946C204518B1}" type="presOf" srcId="{91D6176E-C086-4709-ABBF-C8E13BB1EBD1}" destId="{0877119B-8EB7-448F-A0BE-5E78ABE49ACC}" srcOrd="1" destOrd="0" presId="urn:microsoft.com/office/officeart/2005/8/layout/matrix1"/>
    <dgm:cxn modelId="{7D52ADB9-7575-48F5-80C6-B1A5A319F30E}" type="presOf" srcId="{FBA52537-1E8E-46D7-8392-A64E3A37D4E0}" destId="{2390B9AF-CD4E-4DDC-82F2-58DF53A7F896}" srcOrd="0" destOrd="0" presId="urn:microsoft.com/office/officeart/2005/8/layout/matrix1"/>
    <dgm:cxn modelId="{781BD998-889B-4688-AA56-BD0BB02CACED}" type="presOf" srcId="{91D6176E-C086-4709-ABBF-C8E13BB1EBD1}" destId="{B9531CE4-081F-40B0-A286-C3B235212B9B}" srcOrd="0" destOrd="0" presId="urn:microsoft.com/office/officeart/2005/8/layout/matrix1"/>
    <dgm:cxn modelId="{81760B34-6F36-4F30-85C5-C3E86ECEC4E4}" srcId="{FBA52537-1E8E-46D7-8392-A64E3A37D4E0}" destId="{0A112098-0319-4AF5-B9F7-289C1A83188F}" srcOrd="3" destOrd="0" parTransId="{79D48734-1E6C-406F-B5FA-D5D303582229}" sibTransId="{F33A2E6A-F773-4667-BB49-2075B6E11A1B}"/>
    <dgm:cxn modelId="{85D6CD08-DC7A-4095-BA08-12FEF4CD2723}" srcId="{FBA52537-1E8E-46D7-8392-A64E3A37D4E0}" destId="{10C2FF6E-E311-4CEC-8668-8851F61F72FC}" srcOrd="1" destOrd="0" parTransId="{066F14B1-6E6A-4ECC-B0A0-5E0512AF9B11}" sibTransId="{B86F39A0-1308-4E75-9756-9933FD806322}"/>
    <dgm:cxn modelId="{BE99CABE-6D72-49F3-B90E-7912E19FA79D}" srcId="{FBA52537-1E8E-46D7-8392-A64E3A37D4E0}" destId="{91D6176E-C086-4709-ABBF-C8E13BB1EBD1}" srcOrd="0" destOrd="0" parTransId="{5FA3323E-30C0-4DF9-A164-ED7E0490D923}" sibTransId="{387404B6-8B71-4CD5-96BC-6D4F401B56BC}"/>
    <dgm:cxn modelId="{052A3F3F-5EDD-494C-8C64-6F8590FA4185}" type="presParOf" srcId="{C35562A1-F516-45AD-A3FE-95B1EBFDCD95}" destId="{74A94E58-88CE-4F09-9809-6760D212B2F4}" srcOrd="0" destOrd="0" presId="urn:microsoft.com/office/officeart/2005/8/layout/matrix1"/>
    <dgm:cxn modelId="{0BFA7DAB-77F5-454D-A75D-B525B459F26E}" type="presParOf" srcId="{74A94E58-88CE-4F09-9809-6760D212B2F4}" destId="{B9531CE4-081F-40B0-A286-C3B235212B9B}" srcOrd="0" destOrd="0" presId="urn:microsoft.com/office/officeart/2005/8/layout/matrix1"/>
    <dgm:cxn modelId="{869B65CE-E7E4-4079-A524-038551463FD7}" type="presParOf" srcId="{74A94E58-88CE-4F09-9809-6760D212B2F4}" destId="{0877119B-8EB7-448F-A0BE-5E78ABE49ACC}" srcOrd="1" destOrd="0" presId="urn:microsoft.com/office/officeart/2005/8/layout/matrix1"/>
    <dgm:cxn modelId="{BB3350F5-FCDF-4E8D-9D8E-CDB84CC5CE09}" type="presParOf" srcId="{74A94E58-88CE-4F09-9809-6760D212B2F4}" destId="{E482DBEF-BE4A-4702-914A-E60C1E559470}" srcOrd="2" destOrd="0" presId="urn:microsoft.com/office/officeart/2005/8/layout/matrix1"/>
    <dgm:cxn modelId="{BD7C9E0A-13F6-44CB-9590-F6405FB079A5}" type="presParOf" srcId="{74A94E58-88CE-4F09-9809-6760D212B2F4}" destId="{AED98A2E-C285-4B17-B9C9-AF9A346B36B8}" srcOrd="3" destOrd="0" presId="urn:microsoft.com/office/officeart/2005/8/layout/matrix1"/>
    <dgm:cxn modelId="{02E5F3DB-7400-4C6F-8489-3F43BC07AE93}" type="presParOf" srcId="{74A94E58-88CE-4F09-9809-6760D212B2F4}" destId="{F1AAB971-E2C6-4562-AB25-A77EECABF792}" srcOrd="4" destOrd="0" presId="urn:microsoft.com/office/officeart/2005/8/layout/matrix1"/>
    <dgm:cxn modelId="{E2792D25-F705-419A-A060-5500E1725C5A}" type="presParOf" srcId="{74A94E58-88CE-4F09-9809-6760D212B2F4}" destId="{18C445C9-6205-4703-8445-8D58606ADACB}" srcOrd="5" destOrd="0" presId="urn:microsoft.com/office/officeart/2005/8/layout/matrix1"/>
    <dgm:cxn modelId="{71BF5156-3E06-4625-973B-BB5E6AFF5CE9}" type="presParOf" srcId="{74A94E58-88CE-4F09-9809-6760D212B2F4}" destId="{7E0F8BF4-B18B-41AD-934A-FB26A7F1A78C}" srcOrd="6" destOrd="0" presId="urn:microsoft.com/office/officeart/2005/8/layout/matrix1"/>
    <dgm:cxn modelId="{A3150B80-C403-417E-9C59-739ECD031DD2}" type="presParOf" srcId="{74A94E58-88CE-4F09-9809-6760D212B2F4}" destId="{698EE412-2481-4880-AF1E-CF93AB6DB5A9}" srcOrd="7" destOrd="0" presId="urn:microsoft.com/office/officeart/2005/8/layout/matrix1"/>
    <dgm:cxn modelId="{ED3463EA-E81D-47E6-AE19-04D7D64442E0}" type="presParOf" srcId="{C35562A1-F516-45AD-A3FE-95B1EBFDCD95}" destId="{2390B9AF-CD4E-4DDC-82F2-58DF53A7F896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2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9" y="2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F45AAE9B-511E-49C3-A9D9-4F02A73EB374}" type="datetimeFigureOut">
              <a:rPr lang="en-US" smtClean="0"/>
              <a:t>9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9378823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9" y="9378823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5440D271-B674-4151-A38E-76ED0970F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637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2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9" y="2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7A3917A7-3722-4A71-95D6-F589C53EB019}" type="datetimeFigureOut">
              <a:rPr lang="en-US" smtClean="0"/>
              <a:t>9/1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2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9378823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9" y="9378823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6E7D7EED-20F5-48D4-BC6F-628A515C54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434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927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899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0761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6423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3903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2296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3030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4698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8905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5324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5208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6283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5216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sz="1600" dirty="0" smtClean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24463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9615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1998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1027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4976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5837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2060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47149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066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7720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2948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30073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75425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48892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61955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03111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35379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53678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91876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6619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43064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19883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83032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0340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35129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32542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33115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53525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16064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86034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6012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65090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51479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95459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08408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77692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16249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17472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59552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81896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3706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6253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284973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299364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 smtClean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73919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721895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34294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582430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95895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93448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085413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960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2054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6759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044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6876256" y="6048000"/>
            <a:ext cx="2249424" cy="7200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ctangle 10"/>
          <p:cNvSpPr/>
          <p:nvPr/>
        </p:nvSpPr>
        <p:spPr>
          <a:xfrm>
            <a:off x="1588" y="6048000"/>
            <a:ext cx="6784848" cy="7200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itle 7"/>
          <p:cNvSpPr>
            <a:spLocks noGrp="1"/>
          </p:cNvSpPr>
          <p:nvPr>
            <p:ph type="ctrTitle" hasCustomPrompt="1"/>
          </p:nvPr>
        </p:nvSpPr>
        <p:spPr>
          <a:xfrm>
            <a:off x="251520" y="4038600"/>
            <a:ext cx="6477000" cy="1828800"/>
          </a:xfrm>
        </p:spPr>
        <p:txBody>
          <a:bodyPr anchor="b"/>
          <a:lstStyle>
            <a:lvl1pPr>
              <a:defRPr cap="all" baseline="0">
                <a:solidFill>
                  <a:schemeClr val="bg2"/>
                </a:solidFill>
              </a:defRPr>
            </a:lvl1pPr>
          </a:lstStyle>
          <a:p>
            <a:r>
              <a:rPr kumimoji="0" lang="en-US" dirty="0" smtClean="0"/>
              <a:t>Click to edit Master title style</a:t>
            </a:r>
            <a:br>
              <a:rPr kumimoji="0" lang="en-US" dirty="0" smtClean="0"/>
            </a:br>
            <a:endParaRPr kumimoji="0"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35496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dirty="0" smtClean="0"/>
              <a:t>Click to edit Master subtitle style</a:t>
            </a:r>
            <a:endParaRPr kumimoji="0"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971600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107504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AutoShape 4"/>
          <p:cNvSpPr>
            <a:spLocks noChangeAspect="1" noChangeArrowheads="1" noTextEdit="1"/>
          </p:cNvSpPr>
          <p:nvPr/>
        </p:nvSpPr>
        <p:spPr bwMode="auto">
          <a:xfrm>
            <a:off x="-41284" y="5013176"/>
            <a:ext cx="2277322" cy="864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4950267"/>
            <a:ext cx="792088" cy="865430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7703768" cy="990600"/>
          </a:xfrm>
        </p:spPr>
        <p:txBody>
          <a:bodyPr/>
          <a:lstStyle>
            <a:lvl1pPr algn="r">
              <a:defRPr/>
            </a:lvl1pPr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5536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61396047-A25F-4C04-801C-E0B65870C122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5747" y="2743200"/>
            <a:ext cx="7123113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7872412" y="1600200"/>
            <a:ext cx="1295400" cy="9906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-2604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8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320824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E6ADB3C4-37BC-4668-B07C-AC0A61DA5C70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7872412" y="1752600"/>
            <a:ext cx="12954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dirty="0" smtClean="0"/>
              <a:t>Executive Management retreat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2716158"/>
            <a:ext cx="792088" cy="86543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>
          <a:xfrm>
            <a:off x="320824" y="6248400"/>
            <a:ext cx="2667000" cy="365125"/>
          </a:xfrm>
          <a:prstGeom prst="rect">
            <a:avLst/>
          </a:prstGeom>
        </p:spPr>
        <p:txBody>
          <a:bodyPr rtlCol="0"/>
          <a:lstStyle/>
          <a:p>
            <a:fld id="{2A6A0925-FB6F-41AF-BC67-F44E03827291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algn="l"/>
            <a:r>
              <a:rPr lang="en-US" dirty="0" smtClean="0"/>
              <a:t>Executive Management retrea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7783016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>
          <a:xfrm>
            <a:off x="251520" y="6248400"/>
            <a:ext cx="2667000" cy="365125"/>
          </a:xfrm>
          <a:prstGeom prst="rect">
            <a:avLst/>
          </a:prstGeom>
        </p:spPr>
        <p:txBody>
          <a:bodyPr rtlCol="0"/>
          <a:lstStyle/>
          <a:p>
            <a:fld id="{D21AAC08-61CE-4B90-B52E-AEC4BE5150C8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algn="l"/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4811464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1156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20824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084A3F8D-7326-489B-A111-72F253C23C70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7634808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48816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25BF7998-6C05-4FEA-AF9A-E2F1785DC22B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948264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dirty="0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323528" y="1752600"/>
            <a:ext cx="6400800" cy="44196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per-median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Executive Management retrea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idx="1"/>
          </p:nvPr>
        </p:nvSpPr>
        <p:spPr>
          <a:xfrm>
            <a:off x="612648" y="1046962"/>
            <a:ext cx="8153400" cy="547838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498217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931342" y="228600"/>
            <a:ext cx="7612058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600200"/>
            <a:ext cx="8153400" cy="4925144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dirty="0" smtClean="0"/>
              <a:t>Click to edit Master text styles</a:t>
            </a:r>
          </a:p>
          <a:p>
            <a:pPr lvl="1" eaLnBrk="1" latinLnBrk="0" hangingPunct="1"/>
            <a:r>
              <a:rPr kumimoji="0" lang="en-US" dirty="0" smtClean="0"/>
              <a:t>Second level</a:t>
            </a:r>
          </a:p>
          <a:p>
            <a:pPr lvl="2" eaLnBrk="1" latinLnBrk="0" hangingPunct="1"/>
            <a:r>
              <a:rPr kumimoji="0" lang="en-US" dirty="0" smtClean="0"/>
              <a:t>Third level</a:t>
            </a:r>
          </a:p>
          <a:p>
            <a:pPr lvl="3" eaLnBrk="1" latinLnBrk="0" hangingPunct="1"/>
            <a:r>
              <a:rPr kumimoji="0" lang="en-US" dirty="0" smtClean="0"/>
              <a:t>Fourth level</a:t>
            </a:r>
          </a:p>
          <a:p>
            <a:pPr lvl="4" eaLnBrk="1" latinLnBrk="0" hangingPunct="1"/>
            <a:r>
              <a:rPr kumimoji="0" lang="en-US" dirty="0" smtClean="0"/>
              <a:t>Fifth level</a:t>
            </a:r>
            <a:endParaRPr kumimoji="0"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11560" y="6525344"/>
            <a:ext cx="5421083" cy="221109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1234440"/>
            <a:ext cx="9144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8604448" y="1280160"/>
            <a:ext cx="533400" cy="2286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-1960" y="1280160"/>
            <a:ext cx="8553450" cy="571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609012" y="1272222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19189"/>
            <a:ext cx="483493" cy="52826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lnSpc>
          <a:spcPct val="80000"/>
        </a:lnSpc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228600"/>
            <a:ext cx="7612058" cy="573886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046962"/>
            <a:ext cx="8153400" cy="547838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07101" y="6525344"/>
            <a:ext cx="5421083" cy="221109"/>
          </a:xfrm>
          <a:prstGeom prst="rect">
            <a:avLst/>
          </a:prstGeom>
        </p:spPr>
        <p:txBody>
          <a:bodyPr vert="horz" anchor="ctr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Executive Management retreat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609012" y="810424"/>
            <a:ext cx="533400" cy="2286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-23812" y="810424"/>
            <a:ext cx="8553450" cy="571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609012" y="802486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88640"/>
            <a:ext cx="483493" cy="528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391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lnSpc>
          <a:spcPct val="80000"/>
        </a:lnSpc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12.g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2.gif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jpe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12" Type="http://schemas.openxmlformats.org/officeDocument/2006/relationships/image" Target="../media/image27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8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tu.int/net4/CRM/SDG/#/home/objectives" TargetMode="Externa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13" Type="http://schemas.openxmlformats.org/officeDocument/2006/relationships/image" Target="../media/image23.jpeg"/><Relationship Id="rId18" Type="http://schemas.openxmlformats.org/officeDocument/2006/relationships/image" Target="../media/image47.jpeg"/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12" Type="http://schemas.openxmlformats.org/officeDocument/2006/relationships/image" Target="../media/image44.jpeg"/><Relationship Id="rId17" Type="http://schemas.openxmlformats.org/officeDocument/2006/relationships/image" Target="../media/image46.jpeg"/><Relationship Id="rId2" Type="http://schemas.openxmlformats.org/officeDocument/2006/relationships/notesSlide" Target="../notesSlides/notesSlide40.xml"/><Relationship Id="rId16" Type="http://schemas.openxmlformats.org/officeDocument/2006/relationships/image" Target="../media/image25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jpeg"/><Relationship Id="rId11" Type="http://schemas.openxmlformats.org/officeDocument/2006/relationships/image" Target="../media/image43.png"/><Relationship Id="rId5" Type="http://schemas.openxmlformats.org/officeDocument/2006/relationships/image" Target="../media/image38.jpeg"/><Relationship Id="rId15" Type="http://schemas.openxmlformats.org/officeDocument/2006/relationships/image" Target="../media/image28.jpeg"/><Relationship Id="rId10" Type="http://schemas.openxmlformats.org/officeDocument/2006/relationships/image" Target="../media/image22.jpeg"/><Relationship Id="rId19" Type="http://schemas.openxmlformats.org/officeDocument/2006/relationships/image" Target="../media/image26.jpeg"/><Relationship Id="rId4" Type="http://schemas.openxmlformats.org/officeDocument/2006/relationships/image" Target="../media/image37.jpeg"/><Relationship Id="rId9" Type="http://schemas.openxmlformats.org/officeDocument/2006/relationships/image" Target="../media/image42.jpeg"/><Relationship Id="rId14" Type="http://schemas.openxmlformats.org/officeDocument/2006/relationships/image" Target="../media/image45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9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8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jpg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611560" y="6050037"/>
            <a:ext cx="6129536" cy="685800"/>
          </a:xfrm>
        </p:spPr>
        <p:txBody>
          <a:bodyPr>
            <a:normAutofit/>
          </a:bodyPr>
          <a:lstStyle/>
          <a:p>
            <a:pPr lvl="0" rtl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>
                <a:tab pos="5384800" algn="l"/>
              </a:tabLst>
            </a:pPr>
            <a:r>
              <a:rPr lang="ar-EG" sz="1000" b="1" dirty="0" smtClean="0">
                <a:solidFill>
                  <a:schemeClr val="tx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	</a:t>
            </a:r>
            <a:r>
              <a:rPr lang="en-US" sz="1000" b="1" dirty="0" smtClean="0">
                <a:solidFill>
                  <a:schemeClr val="tx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7</a:t>
            </a:r>
            <a:r>
              <a:rPr lang="ar-EG" sz="1200" b="1" dirty="0" smtClean="0">
                <a:solidFill>
                  <a:schemeClr val="tx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 </a:t>
            </a:r>
            <a:r>
              <a:rPr lang="ar-EG" sz="1200" b="1" dirty="0">
                <a:solidFill>
                  <a:schemeClr val="tx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أغسطس </a:t>
            </a:r>
            <a:r>
              <a:rPr lang="en-US" sz="1000" b="1" dirty="0">
                <a:solidFill>
                  <a:schemeClr val="tx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2017</a:t>
            </a:r>
            <a:endParaRPr lang="en-US" sz="1000" dirty="0">
              <a:solidFill>
                <a:schemeClr val="tx1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7" name="Title 4"/>
          <p:cNvSpPr txBox="1">
            <a:spLocks/>
          </p:cNvSpPr>
          <p:nvPr/>
        </p:nvSpPr>
        <p:spPr>
          <a:xfrm>
            <a:off x="201960" y="836712"/>
            <a:ext cx="6602288" cy="496855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kumimoji="0" sz="44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>
              <a:lnSpc>
                <a:spcPct val="100000"/>
              </a:lnSpc>
              <a:spcBef>
                <a:spcPts val="600"/>
              </a:spcBef>
            </a:pPr>
            <a:r>
              <a:rPr lang="ar-SA" sz="2800" b="1" dirty="0"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إطار التخطيط </a:t>
            </a:r>
            <a:r>
              <a:rPr lang="ar-SA" sz="2800" b="1" dirty="0" smtClean="0"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الاستراتيجي</a:t>
            </a:r>
            <a:endParaRPr lang="ar-EG" sz="2800" b="1" dirty="0" smtClean="0">
              <a:latin typeface="Calibri" panose="020F0502020204030204" pitchFamily="34" charset="0"/>
              <a:ea typeface="SimSun" panose="02010600030101010101" pitchFamily="2" charset="-122"/>
              <a:cs typeface="Traditional Arabic" panose="02020603050405020304" pitchFamily="18" charset="-78"/>
            </a:endParaRPr>
          </a:p>
          <a:p>
            <a:pPr algn="r" rtl="1">
              <a:lnSpc>
                <a:spcPct val="100000"/>
              </a:lnSpc>
              <a:spcBef>
                <a:spcPts val="600"/>
              </a:spcBef>
            </a:pPr>
            <a:endParaRPr lang="en-US" sz="2800" b="1" dirty="0" smtClean="0"/>
          </a:p>
          <a:p>
            <a:pPr algn="r" rtl="1">
              <a:lnSpc>
                <a:spcPct val="100000"/>
              </a:lnSpc>
              <a:spcBef>
                <a:spcPts val="600"/>
              </a:spcBef>
            </a:pPr>
            <a:r>
              <a:rPr lang="ar-SA" sz="2400" i="1" dirty="0"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الاجتماع الثاني لفريق العمل التابع للمجلس والمعني بالخطتين الاستراتيجية والمالية للفترة </a:t>
            </a:r>
            <a:r>
              <a:rPr lang="en-US" sz="1600" i="1" dirty="0" smtClean="0"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2023-2020</a:t>
            </a:r>
            <a:endParaRPr lang="ar-EG" sz="1600" i="1" dirty="0" smtClean="0">
              <a:latin typeface="Calibri" panose="020F0502020204030204" pitchFamily="34" charset="0"/>
              <a:ea typeface="SimSun" panose="02010600030101010101" pitchFamily="2" charset="-122"/>
              <a:cs typeface="Traditional Arabic" panose="02020603050405020304" pitchFamily="18" charset="-78"/>
            </a:endParaRPr>
          </a:p>
          <a:p>
            <a:pPr algn="r" rtl="1">
              <a:lnSpc>
                <a:spcPct val="100000"/>
              </a:lnSpc>
              <a:spcBef>
                <a:spcPts val="600"/>
              </a:spcBef>
            </a:pPr>
            <a:endParaRPr lang="en-US" sz="2800" b="1" i="1" dirty="0" smtClean="0"/>
          </a:p>
          <a:p>
            <a:pPr algn="r" rtl="1">
              <a:lnSpc>
                <a:spcPct val="100000"/>
              </a:lnSpc>
              <a:spcBef>
                <a:spcPts val="600"/>
              </a:spcBef>
            </a:pPr>
            <a:r>
              <a:rPr lang="ar-SA" sz="2400" b="1" dirty="0"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"التزام بتوصيل العالم"</a:t>
            </a:r>
            <a:endParaRPr lang="en-US" sz="2400" b="1" i="1" cap="none" dirty="0" smtClean="0"/>
          </a:p>
        </p:txBody>
      </p:sp>
      <p:sp>
        <p:nvSpPr>
          <p:cNvPr id="4" name="Rectangle 3"/>
          <p:cNvSpPr/>
          <p:nvPr/>
        </p:nvSpPr>
        <p:spPr>
          <a:xfrm>
            <a:off x="239372" y="222607"/>
            <a:ext cx="1457579" cy="984885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rtl="1">
              <a:lnSpc>
                <a:spcPct val="80000"/>
              </a:lnSpc>
              <a:spcAft>
                <a:spcPts val="600"/>
              </a:spcAft>
            </a:pPr>
            <a:r>
              <a:rPr lang="ar-EG" sz="1500" b="1" dirty="0" smtClean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المراجعة </a:t>
            </a:r>
            <a:r>
              <a:rPr lang="en-US" sz="1100" b="1" dirty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1</a:t>
            </a:r>
            <a:r>
              <a:rPr lang="ar-EG" sz="1200" b="1" dirty="0" smtClean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/>
            </a:r>
            <a:br>
              <a:rPr lang="ar-EG" sz="1200" b="1" dirty="0" smtClean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</a:br>
            <a:r>
              <a:rPr lang="ar-EG" sz="1500" b="1" dirty="0" smtClean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للوثيقة </a:t>
            </a:r>
            <a:r>
              <a:rPr lang="en-US" sz="1100" b="1" dirty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CWF‑SFP-2/6-A</a:t>
            </a:r>
            <a:endParaRPr lang="en-US" sz="1100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just" rtl="1">
              <a:lnSpc>
                <a:spcPct val="80000"/>
              </a:lnSpc>
              <a:spcAft>
                <a:spcPts val="60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24</a:t>
            </a:r>
            <a:r>
              <a:rPr lang="ar-EG" sz="1100" b="1" dirty="0" smtClean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 </a:t>
            </a:r>
            <a:r>
              <a:rPr lang="ar-EG" sz="1500" b="1" dirty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أغسطس </a:t>
            </a:r>
            <a:r>
              <a:rPr lang="en-US" sz="1100" b="1" dirty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2017</a:t>
            </a:r>
            <a:endParaRPr lang="en-US" sz="1100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r">
              <a:lnSpc>
                <a:spcPct val="80000"/>
              </a:lnSpc>
              <a:spcAft>
                <a:spcPts val="600"/>
              </a:spcAft>
            </a:pPr>
            <a:r>
              <a:rPr lang="ar-EG" sz="1500" b="1" dirty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raditional Arabic" panose="02020603050405020304" pitchFamily="18" charset="-78"/>
              </a:rPr>
              <a:t>الأصل: بالإنكليزية</a:t>
            </a:r>
            <a:endParaRPr lang="en-US" sz="1500" dirty="0">
              <a:solidFill>
                <a:schemeClr val="bg1"/>
              </a:solidFill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3833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28600"/>
            <a:ext cx="7703768" cy="990600"/>
          </a:xfrm>
        </p:spPr>
        <p:txBody>
          <a:bodyPr/>
          <a:lstStyle/>
          <a:p>
            <a:pPr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نقاط الضعف لدى الاتحاد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0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323528" y="1600200"/>
            <a:ext cx="8232648" cy="4925144"/>
          </a:xfrm>
        </p:spPr>
        <p:txBody>
          <a:bodyPr>
            <a:normAutofit/>
          </a:bodyPr>
          <a:lstStyle/>
          <a:p>
            <a:pPr marL="360000" indent="-360000" algn="just" rtl="1">
              <a:buSzPct val="65000"/>
              <a:buFont typeface="+mj-lt"/>
              <a:buAutoNum type="arabicPeriod"/>
            </a:pPr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طول </a:t>
            </a:r>
            <a:r>
              <a:rPr lang="ar-SA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عملية اتخاذ القرار للهيئات </a:t>
            </a:r>
            <a:r>
              <a:rPr lang="ar-EG" sz="32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حاكمة</a:t>
            </a:r>
            <a:endParaRPr lang="en-US" b="1" dirty="0" smtClean="0"/>
          </a:p>
          <a:p>
            <a:pPr marL="360000" indent="-360000" algn="just" rtl="1">
              <a:buSzPct val="65000"/>
              <a:buFont typeface="+mj-lt"/>
              <a:buAutoNum type="arabicPeriod"/>
            </a:pPr>
            <a:r>
              <a:rPr lang="ar-SA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تطلب الهيكل</a:t>
            </a:r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اتحادي </a:t>
            </a:r>
            <a:r>
              <a:rPr lang="ar-SA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نسيق</a:t>
            </a:r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توضيح</a:t>
            </a:r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أدوار </a:t>
            </a:r>
            <a:r>
              <a:rPr lang="ar-EG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كل قطاع لتجنب </a:t>
            </a:r>
            <a:r>
              <a:rPr lang="ar-EG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زدواجية/التضارب</a:t>
            </a:r>
            <a:endParaRPr lang="en-US" dirty="0"/>
          </a:p>
          <a:p>
            <a:pPr marL="360000" indent="-360000" algn="just" rtl="1">
              <a:buSzPct val="65000"/>
              <a:buFont typeface="+mj-lt"/>
              <a:buAutoNum type="arabicPeriod"/>
            </a:pPr>
            <a:r>
              <a:rPr lang="ar-SA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عناصر الثقافة التنظيمية</a:t>
            </a:r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ذات </a:t>
            </a:r>
            <a:r>
              <a:rPr lang="ar-SA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طبيعة محافظة وتميل إلى تفادي </a:t>
            </a:r>
            <a:r>
              <a:rPr lang="ar-SA" sz="32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خاطر</a:t>
            </a:r>
            <a:endParaRPr lang="en-US" dirty="0" smtClean="0"/>
          </a:p>
          <a:p>
            <a:pPr marL="360000" indent="-360000" algn="just" rtl="1">
              <a:buSzPct val="65000"/>
              <a:buFont typeface="+mj-lt"/>
              <a:buAutoNum type="arabicPeriod"/>
            </a:pPr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صعوبة اتخاذ القرار بشأن تنويع </a:t>
            </a:r>
            <a:r>
              <a:rPr lang="ar-SA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صادر </a:t>
            </a:r>
            <a:r>
              <a:rPr lang="ar-SA" sz="32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دخل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460947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فرص المتاحة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1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51520" y="1046962"/>
            <a:ext cx="8280920" cy="5478382"/>
          </a:xfrm>
        </p:spPr>
        <p:txBody>
          <a:bodyPr>
            <a:normAutofit/>
          </a:bodyPr>
          <a:lstStyle/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إنشاء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سواق جديدة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ودخول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طراف فاعلة رئيسية جديدة يتيح فرصاً جديدة فيما يتعلق </a:t>
            </a:r>
            <a:r>
              <a:rPr lang="ar-SA" sz="24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الأعضاء</a:t>
            </a:r>
            <a:endParaRPr lang="en-US" sz="2300" dirty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اركة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دول الأعضاء من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الم النامي على نحو متزايد في النظام متعدد </a:t>
            </a:r>
            <a:r>
              <a:rPr lang="ar-SA" sz="24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طراف</a:t>
            </a:r>
            <a:endParaRPr lang="en-US" sz="2300" dirty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زيادة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همية تكنولوجيا المعلومات والاتصالات في المجتمع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، يُنظر إلى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بيانات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اعتبارها </a:t>
            </a:r>
            <a:r>
              <a:rPr lang="ar-EG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24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نفط الجديد</a:t>
            </a:r>
            <a:endParaRPr lang="en-US" sz="2300" b="1" dirty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ثر التحفيزي لتكنولوجيا المعلومات والاتصالات في تنفيذ أهداف التنمية المستدامة</a:t>
            </a: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أثر على الرعاية الطبية والاجتماعية والتعليم والهوية الاجتماعية وما إلى ذلك</a:t>
            </a:r>
            <a:r>
              <a:rPr lang="ar-EG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2300" b="1" dirty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حول الرقمي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للصناعة والخدمات 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امة</a:t>
            </a:r>
            <a:endParaRPr lang="en-US" sz="2300" dirty="0" smtClean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كنولوجيات والأنظمة والأطراف الفاعلة الناشئة الجديدة تتطلب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وائح ومعايير منسقة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جديدة</a:t>
            </a:r>
            <a:endParaRPr lang="en-US" sz="2300" dirty="0" smtClean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تيح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كنولوجيات/الأسواق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جديدة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راعية للبيئة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فرصاً جديدة لإقامة 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شراكات</a:t>
            </a:r>
            <a:endParaRPr lang="en-US" sz="2300" dirty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دعم المقدم من بعض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ظمات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سائل الإعلام والمنظمات </a:t>
            </a:r>
            <a:r>
              <a:rPr lang="ar-SA" sz="24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داعمة</a:t>
            </a:r>
            <a:endParaRPr lang="en-US" sz="2700" b="1" dirty="0"/>
          </a:p>
        </p:txBody>
      </p:sp>
    </p:spTree>
    <p:extLst>
      <p:ext uri="{BB962C8B-B14F-4D97-AF65-F5344CB8AC3E}">
        <p14:creationId xmlns:p14="http://schemas.microsoft.com/office/powerpoint/2010/main" val="789861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Autofit/>
          </a:bodyPr>
          <a:lstStyle/>
          <a:p>
            <a:pPr algn="r" rtl="1"/>
            <a:r>
              <a:rPr lang="ar-SA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خاطر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2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95536" y="1046962"/>
            <a:ext cx="8153400" cy="5406374"/>
          </a:xfrm>
        </p:spPr>
        <p:txBody>
          <a:bodyPr>
            <a:noAutofit/>
          </a:bodyPr>
          <a:lstStyle/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زيادة الفجوات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رقمية، بين الجنسين، الجغرافية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2400" dirty="0" smtClean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صعوبة التي </a:t>
            </a:r>
            <a:r>
              <a:rPr lang="ar-SA" sz="2400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واجهها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قتصاد الرقمي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في استعادة المسار نحو نمو قوي ومتوازن 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مستدام</a:t>
            </a:r>
            <a:endParaRPr lang="en-US" sz="2400" dirty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ؤدي </a:t>
            </a:r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قدمو الخدمات الرقمية</a:t>
            </a: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جديدة </a:t>
            </a:r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زيادة المنافسة</a:t>
            </a: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إلى خفض الهوامش، وطرح تساؤلات بشأن أنواع اللوائح </a:t>
            </a:r>
            <a:r>
              <a:rPr lang="ar-EG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طلوبة</a:t>
            </a:r>
            <a:endParaRPr lang="en-US" sz="2400" dirty="0" smtClean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ثر الاجتماعي لتكنولوجيا المعلومات والاتصالات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خصوصية على الخط، حماية المستهلك، الأمن، الأثر على فرص العمل، زيادة أوجه عدم المساواة، الأخلاقيات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2400" dirty="0" smtClean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ثر البيئي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لزيادة الشبكات والبيانات والأجهزة 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وصولة</a:t>
            </a:r>
            <a:endParaRPr lang="en-US" sz="2400" dirty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ضغط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ن مختلف أصحاب المصلحة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تنفيذ نُهج غير </a:t>
            </a:r>
            <a:r>
              <a:rPr lang="ar-SA" sz="24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ثبتة</a:t>
            </a:r>
            <a:endParaRPr lang="en-US" sz="2400" b="1" dirty="0" smtClean="0"/>
          </a:p>
          <a:p>
            <a:pPr marL="252000" indent="-252000" algn="just" rtl="1">
              <a:spcBef>
                <a:spcPts val="300"/>
              </a:spcBef>
              <a:buSzPct val="65000"/>
              <a:buFont typeface="+mj-lt"/>
              <a:buAutoNum type="arabicPeriod"/>
            </a:pP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زدواجية في العمل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ع منظمات/رابطات 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خرى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2834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28600"/>
            <a:ext cx="7703768" cy="990600"/>
          </a:xfrm>
        </p:spPr>
        <p:txBody>
          <a:bodyPr/>
          <a:lstStyle/>
          <a:p>
            <a:pPr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شركاء الرئيسيون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3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395536" y="1600200"/>
            <a:ext cx="8153400" cy="4495800"/>
          </a:xfrm>
        </p:spPr>
        <p:txBody>
          <a:bodyPr>
            <a:normAutofit/>
          </a:bodyPr>
          <a:lstStyle/>
          <a:p>
            <a:pPr algn="just" rtl="1"/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دول </a:t>
            </a:r>
            <a:r>
              <a:rPr lang="ar-SA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عضاء</a:t>
            </a:r>
            <a:endParaRPr lang="en-US" dirty="0" smtClean="0"/>
          </a:p>
          <a:p>
            <a:pPr algn="just" rtl="1"/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عضاء القطاعات والأطراف الفاعلة الأخرى في دوائر </a:t>
            </a:r>
            <a:r>
              <a:rPr lang="ar-SA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صناعة</a:t>
            </a:r>
            <a:endParaRPr lang="en-US" dirty="0"/>
          </a:p>
          <a:p>
            <a:pPr algn="just" rtl="1"/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ؤسسات </a:t>
            </a:r>
            <a:r>
              <a:rPr lang="ar-SA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كاديمية</a:t>
            </a:r>
            <a:endParaRPr lang="en-US" dirty="0"/>
          </a:p>
          <a:p>
            <a:pPr algn="just" rtl="1"/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كالات الأمم المتحدة والمنظمات الدولية </a:t>
            </a:r>
            <a:r>
              <a:rPr lang="ar-SA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خرى</a:t>
            </a:r>
            <a:endParaRPr lang="en-US" dirty="0" smtClean="0"/>
          </a:p>
          <a:p>
            <a:pPr algn="just" rtl="1"/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رابطات الصناعة (بما في ذلك جمعيات الشركات الصغيرة والمتوسطة العاملة في مجال التكنولوجيا</a:t>
            </a:r>
            <a:r>
              <a:rPr lang="ar-SA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dirty="0" smtClean="0"/>
          </a:p>
          <a:p>
            <a:pPr algn="just" rtl="1"/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نظمات غير </a:t>
            </a:r>
            <a:r>
              <a:rPr lang="ar-SA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حكومية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0193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 rtl="1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344" y="1600200"/>
            <a:ext cx="7620000" cy="990600"/>
          </a:xfrm>
        </p:spPr>
        <p:txBody>
          <a:bodyPr/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رؤية الاتحاد ورسالته وقيمه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870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28600"/>
            <a:ext cx="7703768" cy="990600"/>
          </a:xfrm>
        </p:spPr>
        <p:txBody>
          <a:bodyPr/>
          <a:lstStyle/>
          <a:p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رؤية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5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391362" y="4870340"/>
            <a:ext cx="7864862" cy="830997"/>
            <a:chOff x="417358" y="2014082"/>
            <a:chExt cx="8004704" cy="830997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18058" y="2040161"/>
              <a:ext cx="1704004" cy="524743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417358" y="2014082"/>
              <a:ext cx="608467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rtl="1"/>
              <a:r>
                <a:rPr lang="ar-SA" sz="24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يُنظر إلى القطاع البريدي بوصفه عاملاً </a:t>
              </a:r>
              <a:r>
                <a:rPr lang="ar-SA" sz="2400" dirty="0" err="1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تمكينياً</a:t>
              </a:r>
              <a:r>
                <a:rPr lang="ar-SA" sz="24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 للتنمية الشاملة وعنصراً أساسياً للاقتصاد العالمي</a:t>
              </a:r>
              <a:r>
                <a:rPr lang="ar-SA" sz="24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endParaRPr lang="en-US" sz="2400" dirty="0"/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1556526"/>
            <a:ext cx="794345" cy="87845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95536" y="1493994"/>
            <a:ext cx="664892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جتمع معلومات</a:t>
            </a:r>
            <a:r>
              <a:rPr lang="ar-SA" sz="2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يمكّنه </a:t>
            </a:r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الم الموصول</a:t>
            </a:r>
            <a:r>
              <a:rPr lang="ar-SA" sz="2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حيث تتيح </a:t>
            </a:r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صالات</a:t>
            </a:r>
            <a:r>
              <a:rPr lang="ar-SA" sz="28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/</a:t>
            </a:r>
            <a:r>
              <a:rPr lang="ar-EG" sz="28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8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كنولوجيات </a:t>
            </a:r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علومات والاتصالات</a:t>
            </a:r>
            <a:r>
              <a:rPr lang="ar-SA" sz="2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تحقيق وتسريع </a:t>
            </a:r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نمو والتنمية الاجتماعيين والاقتصاديين</a:t>
            </a:r>
            <a:r>
              <a:rPr lang="ar-SA" sz="2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مستدامين </a:t>
            </a:r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يئياً</a:t>
            </a:r>
            <a:r>
              <a:rPr lang="ar-SA" sz="2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لكل فرد</a:t>
            </a:r>
            <a:r>
              <a:rPr lang="ar-SA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endParaRPr lang="en-US" sz="2800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95536" y="3284984"/>
            <a:ext cx="81369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ular Callout 15"/>
          <p:cNvSpPr/>
          <p:nvPr/>
        </p:nvSpPr>
        <p:spPr>
          <a:xfrm flipH="1">
            <a:off x="4427984" y="260648"/>
            <a:ext cx="2808312" cy="648072"/>
          </a:xfrm>
          <a:prstGeom prst="wedgeRoundRectCallout">
            <a:avLst>
              <a:gd name="adj1" fmla="val -59049"/>
              <a:gd name="adj2" fmla="val -804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>
              <a:lnSpc>
                <a:spcPct val="80000"/>
              </a:lnSpc>
            </a:pPr>
            <a:r>
              <a:rPr lang="ar-SA" sz="2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الم الأفضل الذي </a:t>
            </a:r>
            <a:r>
              <a:rPr lang="ar-EG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صبو إليه الاتحاد</a:t>
            </a:r>
            <a:endParaRPr lang="en-US" sz="2000" dirty="0">
              <a:solidFill>
                <a:schemeClr val="bg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95536" y="3380799"/>
            <a:ext cx="8099611" cy="1200329"/>
            <a:chOff x="2296308" y="4149080"/>
            <a:chExt cx="8243627" cy="1200329"/>
          </a:xfrm>
        </p:grpSpPr>
        <p:sp>
          <p:nvSpPr>
            <p:cNvPr id="10" name="TextBox 9"/>
            <p:cNvSpPr txBox="1"/>
            <p:nvPr/>
          </p:nvSpPr>
          <p:spPr>
            <a:xfrm>
              <a:off x="2296308" y="4149080"/>
              <a:ext cx="608467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rtl="1"/>
              <a:r>
                <a:rPr lang="ar-EG" sz="24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عالم خالٍ من الجوع وسوء التغذية حيث يساهم الغذاء والزراعة في تحسين المستويات المعيشية للجميع، لا سيما للفئات الأكثر فقراً، وذلك بطريقة مستدامة اقتصادياً واجتماعياً وبيئياً</a:t>
              </a:r>
              <a:r>
                <a:rPr lang="ar-EG" sz="24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endParaRPr lang="en-US" sz="2400" dirty="0"/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8597008" y="4255662"/>
              <a:ext cx="1942927" cy="829522"/>
              <a:chOff x="8597008" y="4255662"/>
              <a:chExt cx="1942927" cy="829522"/>
            </a:xfrm>
          </p:grpSpPr>
          <p:pic>
            <p:nvPicPr>
              <p:cNvPr id="1026" name="Picture 2" descr="http://www.fao.org/fileadmin/templates/faoweb/images/FAO-logo.png"/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9213"/>
              <a:stretch/>
            </p:blipFill>
            <p:spPr bwMode="auto">
              <a:xfrm>
                <a:off x="8597008" y="4255662"/>
                <a:ext cx="510208" cy="4587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2" descr="http://www.fao.org/fileadmin/templates/faoweb/images/FAO-logo.png"/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840"/>
              <a:stretch/>
            </p:blipFill>
            <p:spPr bwMode="auto">
              <a:xfrm>
                <a:off x="8597008" y="4626468"/>
                <a:ext cx="1942927" cy="4587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1" name="Group 20"/>
          <p:cNvGrpSpPr/>
          <p:nvPr/>
        </p:nvGrpSpPr>
        <p:grpSpPr>
          <a:xfrm>
            <a:off x="387740" y="5879013"/>
            <a:ext cx="7661219" cy="830997"/>
            <a:chOff x="-508" y="5637784"/>
            <a:chExt cx="7797440" cy="830997"/>
          </a:xfrm>
        </p:grpSpPr>
        <p:pic>
          <p:nvPicPr>
            <p:cNvPr id="1028" name="Picture 4" descr="Image result for unicef logo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399" b="36601"/>
            <a:stretch/>
          </p:blipFill>
          <p:spPr bwMode="auto">
            <a:xfrm>
              <a:off x="6300192" y="5691539"/>
              <a:ext cx="1496740" cy="5388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/>
            <p:cNvSpPr txBox="1"/>
            <p:nvPr/>
          </p:nvSpPr>
          <p:spPr>
            <a:xfrm>
              <a:off x="-508" y="5637784"/>
              <a:ext cx="608467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rtl="1"/>
              <a:r>
                <a:rPr lang="ar-SA" sz="24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اليونيسيف هي القوة الدافعة التي تساعد في بناء عالم تتحقق فيه حقوق </a:t>
              </a:r>
              <a:r>
                <a:rPr lang="ar-EG" sz="24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/>
              </a:r>
              <a:br>
                <a:rPr lang="ar-EG" sz="24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</a:br>
              <a:r>
                <a:rPr lang="ar-SA" sz="24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كل </a:t>
              </a:r>
              <a:r>
                <a:rPr lang="ar-SA" sz="24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طفل</a:t>
              </a:r>
              <a:r>
                <a:rPr lang="ar-SA" sz="24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28539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28600"/>
            <a:ext cx="7703768" cy="990600"/>
          </a:xfrm>
        </p:spPr>
        <p:txBody>
          <a:bodyPr/>
          <a:lstStyle/>
          <a:p>
            <a:r>
              <a:rPr lang="ar-EG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رؤية - اقتراح للمناقشة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6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899592" y="1705776"/>
            <a:ext cx="6840760" cy="1936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>
              <a:lnSpc>
                <a:spcPct val="107000"/>
              </a:lnSpc>
              <a:spcAft>
                <a:spcPts val="0"/>
              </a:spcAft>
            </a:pP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r>
              <a:rPr lang="ar-SA" sz="2800" b="1" strike="sngStrike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جتمع معلومات</a:t>
            </a:r>
            <a:r>
              <a:rPr lang="ar-SA" sz="2800" strike="sngStrike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يمكّنه </a:t>
            </a:r>
            <a:r>
              <a:rPr lang="ar-SA" sz="2800" b="1" strike="sngStrike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</a:t>
            </a:r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عالم </a:t>
            </a:r>
            <a:r>
              <a:rPr lang="ar-SA" sz="2800" b="1" strike="sngStrike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</a:t>
            </a:r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وصول</a:t>
            </a:r>
            <a:r>
              <a:rPr lang="ar-SA" sz="2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حيث تتيح </a:t>
            </a:r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صالات/تكنولوجيات المعلومات والاتصالات</a:t>
            </a:r>
            <a:r>
              <a:rPr lang="ar-SA" sz="2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800" strike="sngStrike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حقيق و</a:t>
            </a:r>
            <a:r>
              <a:rPr lang="ar-SA" sz="2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سريع </a:t>
            </a:r>
            <a:r>
              <a:rPr lang="ar-SA" sz="2800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قدم البشري وتمكّن من تحقيق</a:t>
            </a:r>
            <a:r>
              <a:rPr lang="ar-SA" sz="2800" strike="sngStrike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800" b="1" strike="sngStrike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نمو والتنمية الاجتماعيين والاقتصاديين</a:t>
            </a:r>
            <a:r>
              <a:rPr lang="ar-SA" sz="2800" strike="sngStrike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مستدامين </a:t>
            </a:r>
            <a:r>
              <a:rPr lang="ar-SA" sz="2800" b="1" strike="sngStrike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يئياً</a:t>
            </a:r>
            <a:r>
              <a:rPr lang="ar-SA" sz="2800" strike="sngStrike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لكل فرد</a:t>
            </a:r>
            <a:r>
              <a:rPr lang="ar-SA" sz="2800" dirty="0">
                <a:solidFill>
                  <a:srgbClr val="00808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800" b="1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نمية </a:t>
            </a:r>
            <a:r>
              <a:rPr lang="ar-SA" sz="2800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تدامة للجميع</a:t>
            </a: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endParaRPr lang="en-US" sz="2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5536" y="4563125"/>
            <a:ext cx="73448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عالم موصول</a:t>
            </a:r>
            <a:r>
              <a:rPr lang="ar-SA" sz="2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حيث تتيح الاتصالات/تكنولوجيات المعلومات والاتصالات </a:t>
            </a:r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سريع التقدم البشري</a:t>
            </a:r>
            <a:r>
              <a:rPr lang="ar-SA" sz="2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تمكّن من تحقيق التنمية المستدامة للجميع</a:t>
            </a:r>
            <a:endParaRPr lang="en-US" sz="2800" b="1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119" y="4472534"/>
            <a:ext cx="794345" cy="87845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119394" y="4128781"/>
            <a:ext cx="16209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US" dirty="0" smtClean="0">
                <a:sym typeface="Wingdings" panose="05000000000000000000" pitchFamily="2" charset="2"/>
              </a:rPr>
              <a:t></a:t>
            </a:r>
            <a:r>
              <a:rPr lang="ar-EG" dirty="0" smtClean="0">
                <a:sym typeface="Wingdings" panose="05000000000000000000" pitchFamily="2" charset="2"/>
              </a:rPr>
              <a:t> </a:t>
            </a:r>
            <a:r>
              <a:rPr lang="ar-SA" sz="24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رؤية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ة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983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28600"/>
            <a:ext cx="7703768" cy="990600"/>
          </a:xfrm>
        </p:spPr>
        <p:txBody>
          <a:bodyPr/>
          <a:lstStyle/>
          <a:p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رسالة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7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2071" y="1556526"/>
            <a:ext cx="794345" cy="87845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503548" y="1493994"/>
            <a:ext cx="666074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rtl="1"/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r>
              <a:rPr lang="ar-SA" sz="2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وتيسير النفاذ الميسور التكلفة والشامل</a:t>
            </a: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إلى </a:t>
            </a:r>
            <a:r>
              <a:rPr lang="ar-SA" sz="2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شبكات الاتصالات/تكنولوجيا المعلومات والاتصالات وخدماتها وتطبيقاتها</a:t>
            </a: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، </a:t>
            </a:r>
            <a:r>
              <a:rPr lang="ar-SA" sz="2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ستعمالها</a:t>
            </a: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ن أجل </a:t>
            </a:r>
            <a:r>
              <a:rPr lang="ar-SA" sz="2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نمو والتنمية الاجتماعيين والاقتصاديين </a:t>
            </a:r>
            <a:r>
              <a:rPr lang="ar-SA" sz="2800" b="1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‍مستدامين</a:t>
            </a:r>
            <a:r>
              <a:rPr lang="ar-SA" sz="2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8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يئياً</a:t>
            </a:r>
            <a:r>
              <a:rPr lang="ar-EG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endParaRPr lang="en-US" sz="2800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503548" y="3284984"/>
            <a:ext cx="81369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ular Callout 18"/>
          <p:cNvSpPr/>
          <p:nvPr/>
        </p:nvSpPr>
        <p:spPr>
          <a:xfrm flipH="1">
            <a:off x="1835696" y="260648"/>
            <a:ext cx="5184576" cy="648072"/>
          </a:xfrm>
          <a:prstGeom prst="wedgeRoundRectCallout">
            <a:avLst>
              <a:gd name="adj1" fmla="val -54981"/>
              <a:gd name="adj2" fmla="val -654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ar-SA" sz="2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شير الرسالة إلى الأهداف الشاملة الرئيسية للاتحاد </a:t>
            </a:r>
            <a:r>
              <a:rPr lang="ar-EG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فقاً </a:t>
            </a:r>
            <a:r>
              <a:rPr lang="ar-SA" sz="2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لصكوك الأساسية للاتحاد</a:t>
            </a:r>
            <a:endParaRPr lang="en-US" sz="2000" dirty="0">
              <a:solidFill>
                <a:schemeClr val="bg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03549" y="3369766"/>
            <a:ext cx="8100899" cy="923330"/>
            <a:chOff x="785049" y="3685227"/>
            <a:chExt cx="7814303" cy="923330"/>
          </a:xfrm>
        </p:grpSpPr>
        <p:pic>
          <p:nvPicPr>
            <p:cNvPr id="9" name="Picture 4" descr="Image result for wipo logo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77305" y="3733571"/>
              <a:ext cx="1222047" cy="8749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Box 16"/>
            <p:cNvSpPr txBox="1"/>
            <p:nvPr/>
          </p:nvSpPr>
          <p:spPr>
            <a:xfrm>
              <a:off x="785049" y="3685227"/>
              <a:ext cx="637923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rtl="1"/>
              <a:r>
                <a:rPr lang="ar-SA" sz="24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r>
                <a:rPr lang="ar-EG" sz="24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تشجيع الابتكار والإبداع من أجل التنمية الاقتصادية والاجتماعية والثقافية في جميع البلدان من خلال نظام دولي متوازن وفعال للملكية الفكرية</a:t>
              </a:r>
              <a:r>
                <a:rPr lang="ar-EG" sz="24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endParaRPr lang="en-US" sz="2400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03548" y="4365104"/>
            <a:ext cx="8128091" cy="1200329"/>
            <a:chOff x="181264" y="4473102"/>
            <a:chExt cx="8128091" cy="1200329"/>
          </a:xfrm>
        </p:grpSpPr>
        <p:sp>
          <p:nvSpPr>
            <p:cNvPr id="16" name="TextBox 15"/>
            <p:cNvSpPr txBox="1"/>
            <p:nvPr/>
          </p:nvSpPr>
          <p:spPr>
            <a:xfrm>
              <a:off x="181264" y="4473102"/>
              <a:ext cx="680475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rtl="1"/>
              <a:r>
                <a:rPr lang="ar-SA" sz="24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تقوم اليونسكو، بصفتها وكالة متخصصة تابعة للأمم المتحدة، وطبقاً لدستورها، بالمساهمة في بناء السلام والقضاء على الفقر وتحقيق التنمية المستدامة والحوار بين الثقافات من خلال التعليم والعلوم والثقافة والاتصالات والمعلومات" </a:t>
              </a:r>
              <a:endParaRPr lang="en-US" sz="2400" dirty="0"/>
            </a:p>
          </p:txBody>
        </p:sp>
        <p:pic>
          <p:nvPicPr>
            <p:cNvPr id="9218" name="Picture 2" descr="Image result for unesco log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0036" y="4473102"/>
              <a:ext cx="1179319" cy="10046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/>
          <p:cNvGrpSpPr/>
          <p:nvPr/>
        </p:nvGrpSpPr>
        <p:grpSpPr>
          <a:xfrm>
            <a:off x="503548" y="5733256"/>
            <a:ext cx="8004704" cy="830997"/>
            <a:chOff x="177187" y="2014082"/>
            <a:chExt cx="8004704" cy="830997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477887" y="2137411"/>
              <a:ext cx="1704004" cy="524743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177187" y="2014082"/>
              <a:ext cx="63007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rtl="1"/>
              <a:r>
                <a:rPr lang="ar-SA" sz="24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حفز التطوير الدائم لخدمات بريدية عالمية تتسم بالكفاءة ويمكن الوصول إليها وذات جودة عالية بغية تسهيل الاتصال بين سكان العالم من خلال ... </a:t>
              </a:r>
              <a:r>
                <a:rPr lang="ar-SA" sz="24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(...)"</a:t>
              </a:r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638344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28600"/>
            <a:ext cx="7703768" cy="990600"/>
          </a:xfrm>
        </p:spPr>
        <p:txBody>
          <a:bodyPr/>
          <a:lstStyle/>
          <a:p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رسالة - اقتراح للمناقشة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8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0103" y="4504056"/>
            <a:ext cx="794345" cy="87845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827583" y="1776199"/>
            <a:ext cx="676875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rt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r>
              <a:rPr lang="ar-SA" altLang="zh-CN" sz="28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وتيسير النفاذ الميسور التكلفة والشامل</a:t>
            </a:r>
            <a:r>
              <a:rPr lang="ar-SA" altLang="zh-CN" sz="2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إلى</a:t>
            </a:r>
            <a:r>
              <a:rPr lang="en-US" altLang="zh-CN" sz="2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altLang="zh-CN" sz="28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شبكات الاتصالات/تكنولوجيا المعلومات والاتصالات وخدماتها وتطبيقاتها</a:t>
            </a:r>
            <a:r>
              <a:rPr lang="en-US" altLang="zh-CN" sz="2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، </a:t>
            </a:r>
            <a:r>
              <a:rPr lang="ar-SA" altLang="zh-CN" sz="28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استعمالها</a:t>
            </a:r>
            <a:r>
              <a:rPr lang="ar-SA" altLang="zh-CN" sz="2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من أجل</a:t>
            </a:r>
            <a:r>
              <a:rPr lang="ar-SA" altLang="zh-CN" sz="2800" dirty="0">
                <a:solidFill>
                  <a:srgbClr val="FF0000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التقدم البشري وتحقيق التنمية المستدامة</a:t>
            </a:r>
            <a:r>
              <a:rPr lang="en-US" altLang="zh-CN" sz="2800" dirty="0">
                <a:solidFill>
                  <a:srgbClr val="FF0000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altLang="zh-CN" sz="2800" b="1" strike="sngStrike" dirty="0">
                <a:solidFill>
                  <a:srgbClr val="FF0000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نمو والتنمية الاجتماعيين والاقتصاديين </a:t>
            </a:r>
            <a:r>
              <a:rPr lang="ar-SA" altLang="zh-CN" sz="2800" b="1" strike="sngStrike" dirty="0" err="1">
                <a:solidFill>
                  <a:srgbClr val="FF0000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‍مستدامين</a:t>
            </a:r>
            <a:r>
              <a:rPr lang="ar-SA" altLang="zh-CN" sz="2800" b="1" strike="sngStrike" dirty="0">
                <a:solidFill>
                  <a:srgbClr val="FF0000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altLang="zh-CN" sz="2800" b="1" strike="sngStrike" dirty="0" smtClean="0">
                <a:solidFill>
                  <a:srgbClr val="FF0000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يئياً</a:t>
            </a:r>
            <a:r>
              <a:rPr lang="en-US" altLang="zh-CN" sz="2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endParaRPr lang="en-US" altLang="zh-CN" sz="2800" dirty="0">
              <a:latin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5430" y="4504056"/>
            <a:ext cx="720090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rtl="1"/>
            <a:r>
              <a:rPr lang="ar-SA" sz="2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تعزيز وتيسير النفاذ الميسور التكلفة والشامل إلى شبكات الاتصالات/تكنولوجيا المعلومات والاتصالات وخدماتها وتطبيقاتها، واستعمالها من أجل التقدم البشري وتحقيق التنمية المستدامة</a:t>
            </a:r>
            <a:r>
              <a:rPr lang="ar-SA" sz="28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endParaRPr lang="en-US" sz="2800" b="1" dirty="0"/>
          </a:p>
        </p:txBody>
      </p:sp>
      <p:sp>
        <p:nvSpPr>
          <p:cNvPr id="17" name="Rectangle 16"/>
          <p:cNvSpPr/>
          <p:nvPr/>
        </p:nvSpPr>
        <p:spPr>
          <a:xfrm>
            <a:off x="5771798" y="4149080"/>
            <a:ext cx="18245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US" sz="2400" dirty="0">
                <a:sym typeface="Wingdings" panose="05000000000000000000" pitchFamily="2" charset="2"/>
              </a:rPr>
              <a:t></a:t>
            </a:r>
            <a:r>
              <a:rPr lang="ar-EG" sz="2400" dirty="0">
                <a:sym typeface="Wingdings" panose="05000000000000000000" pitchFamily="2" charset="2"/>
              </a:rPr>
              <a:t> </a:t>
            </a:r>
            <a:r>
              <a:rPr lang="ar-EG" sz="24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رسالة 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ة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530411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28600"/>
            <a:ext cx="7703768" cy="990600"/>
          </a:xfrm>
        </p:spPr>
        <p:txBody>
          <a:bodyPr/>
          <a:lstStyle/>
          <a:p>
            <a:pPr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قيم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9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8095" y="1556526"/>
            <a:ext cx="794345" cy="87845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015866" y="1493994"/>
            <a:ext cx="891838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شمول"</a:t>
            </a:r>
            <a:endParaRPr lang="en-US" sz="2400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395536" y="3068960"/>
            <a:ext cx="81369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ular Callout 18"/>
          <p:cNvSpPr/>
          <p:nvPr/>
        </p:nvSpPr>
        <p:spPr>
          <a:xfrm flipH="1">
            <a:off x="1547664" y="260648"/>
            <a:ext cx="5544616" cy="648072"/>
          </a:xfrm>
          <a:prstGeom prst="wedgeRoundRectCallout">
            <a:avLst>
              <a:gd name="adj1" fmla="val -54981"/>
              <a:gd name="adj2" fmla="val -654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ar-EG" sz="2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عتقدات </a:t>
            </a:r>
            <a:r>
              <a:rPr lang="ar-EG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حاد </a:t>
            </a:r>
            <a:r>
              <a:rPr lang="ar-EG" sz="2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امة والمشتركة التي تقود أولوياته </a:t>
            </a:r>
            <a:r>
              <a:rPr lang="ar-EG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توجه </a:t>
            </a:r>
            <a:r>
              <a:rPr lang="ar-EG" sz="2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جميع عمليات صنع القرار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190513" y="1491132"/>
            <a:ext cx="5216740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التركيز على الناس والتوجه نحو الخدمة والاستناد إلى النتائج"</a:t>
            </a:r>
            <a:endParaRPr lang="en-US" sz="2400" dirty="0"/>
          </a:p>
        </p:txBody>
      </p:sp>
      <p:sp>
        <p:nvSpPr>
          <p:cNvPr id="20" name="TextBox 19"/>
          <p:cNvSpPr txBox="1"/>
          <p:nvPr/>
        </p:nvSpPr>
        <p:spPr>
          <a:xfrm>
            <a:off x="1547664" y="1871612"/>
            <a:ext cx="2164622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التآزر من خلال التعاون"</a:t>
            </a:r>
            <a:endParaRPr lang="en-US" sz="2400" dirty="0"/>
          </a:p>
        </p:txBody>
      </p:sp>
      <p:sp>
        <p:nvSpPr>
          <p:cNvPr id="21" name="TextBox 20"/>
          <p:cNvSpPr txBox="1"/>
          <p:nvPr/>
        </p:nvSpPr>
        <p:spPr>
          <a:xfrm>
            <a:off x="5054930" y="1875312"/>
            <a:ext cx="1677310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العالمية والحيادية"</a:t>
            </a:r>
            <a:endParaRPr lang="en-US" sz="2400" dirty="0"/>
          </a:p>
        </p:txBody>
      </p:sp>
      <p:sp>
        <p:nvSpPr>
          <p:cNvPr id="22" name="TextBox 21"/>
          <p:cNvSpPr txBox="1"/>
          <p:nvPr/>
        </p:nvSpPr>
        <p:spPr>
          <a:xfrm>
            <a:off x="2155883" y="2253600"/>
            <a:ext cx="1408005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تحسن مستمر"</a:t>
            </a:r>
            <a:endParaRPr lang="en-US" sz="2400" dirty="0"/>
          </a:p>
        </p:txBody>
      </p:sp>
      <p:sp>
        <p:nvSpPr>
          <p:cNvPr id="23" name="TextBox 22"/>
          <p:cNvSpPr txBox="1"/>
          <p:nvPr/>
        </p:nvSpPr>
        <p:spPr>
          <a:xfrm>
            <a:off x="4014680" y="2253600"/>
            <a:ext cx="845352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الكفاءة"</a:t>
            </a:r>
            <a:endParaRPr lang="en-US" sz="2400" dirty="0"/>
          </a:p>
        </p:txBody>
      </p:sp>
      <p:sp>
        <p:nvSpPr>
          <p:cNvPr id="24" name="TextBox 23"/>
          <p:cNvSpPr txBox="1"/>
          <p:nvPr/>
        </p:nvSpPr>
        <p:spPr>
          <a:xfrm>
            <a:off x="5345964" y="2253600"/>
            <a:ext cx="882220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الابتكار"</a:t>
            </a:r>
            <a:endParaRPr lang="en-US" sz="2400" dirty="0"/>
          </a:p>
        </p:txBody>
      </p:sp>
      <p:sp>
        <p:nvSpPr>
          <p:cNvPr id="25" name="TextBox 24"/>
          <p:cNvSpPr txBox="1"/>
          <p:nvPr/>
        </p:nvSpPr>
        <p:spPr>
          <a:xfrm>
            <a:off x="4009745" y="2631888"/>
            <a:ext cx="922295" cy="44203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الشفافية"</a:t>
            </a:r>
            <a:endParaRPr lang="en-US" sz="2400" dirty="0"/>
          </a:p>
        </p:txBody>
      </p:sp>
      <p:grpSp>
        <p:nvGrpSpPr>
          <p:cNvPr id="5" name="Group 4"/>
          <p:cNvGrpSpPr/>
          <p:nvPr/>
        </p:nvGrpSpPr>
        <p:grpSpPr>
          <a:xfrm>
            <a:off x="1154901" y="3212976"/>
            <a:ext cx="6585451" cy="1323439"/>
            <a:chOff x="938877" y="3125553"/>
            <a:chExt cx="6585451" cy="1323439"/>
          </a:xfrm>
        </p:grpSpPr>
        <p:sp>
          <p:nvSpPr>
            <p:cNvPr id="29" name="TextBox 28"/>
            <p:cNvSpPr txBox="1"/>
            <p:nvPr/>
          </p:nvSpPr>
          <p:spPr>
            <a:xfrm>
              <a:off x="938877" y="3125553"/>
              <a:ext cx="4353203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rtl="1"/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المسؤولية الوطنية والقدرات الوطنية</a:t>
              </a:r>
              <a:r>
                <a:rPr lang="ar-SA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endParaRPr lang="en-US" sz="2000" dirty="0" smtClean="0"/>
            </a:p>
            <a:p>
              <a:pPr algn="r" rtl="1"/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المساءلة عن النتائج والشفافية</a:t>
              </a:r>
              <a:r>
                <a:rPr lang="ar-SA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endParaRPr lang="en-US" sz="2000" dirty="0" smtClean="0"/>
            </a:p>
            <a:p>
              <a:pPr algn="r" rtl="1"/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الشراكات والتنسيق</a:t>
              </a:r>
              <a:r>
                <a:rPr lang="ar-SA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endParaRPr lang="en-US" sz="2000" dirty="0" smtClean="0"/>
            </a:p>
            <a:p>
              <a:pPr algn="r" rtl="1"/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التميز</a:t>
              </a:r>
              <a:r>
                <a:rPr lang="ar-SA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endParaRPr lang="en-US" sz="2000" dirty="0"/>
            </a:p>
          </p:txBody>
        </p:sp>
        <p:pic>
          <p:nvPicPr>
            <p:cNvPr id="30" name="Picture 2" descr="Image result for unops logo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44054" y="3236496"/>
              <a:ext cx="2080274" cy="3804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Group 5"/>
          <p:cNvGrpSpPr/>
          <p:nvPr/>
        </p:nvGrpSpPr>
        <p:grpSpPr>
          <a:xfrm>
            <a:off x="539552" y="4653136"/>
            <a:ext cx="7992888" cy="901034"/>
            <a:chOff x="921284" y="4353447"/>
            <a:chExt cx="7992888" cy="901034"/>
          </a:xfrm>
        </p:grpSpPr>
        <p:pic>
          <p:nvPicPr>
            <p:cNvPr id="34" name="Picture 4" descr="Image result for wipo log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2125" y="4379495"/>
              <a:ext cx="1222047" cy="8749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TextBox 31"/>
            <p:cNvSpPr txBox="1"/>
            <p:nvPr/>
          </p:nvSpPr>
          <p:spPr>
            <a:xfrm>
              <a:off x="921284" y="4353447"/>
              <a:ext cx="658191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rtl="1"/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التوجه نحو </a:t>
              </a:r>
              <a:r>
                <a:rPr lang="ar-SA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خدمة"</a:t>
              </a:r>
              <a:r>
                <a:rPr lang="ar-EG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    </a:t>
              </a:r>
              <a:r>
                <a:rPr lang="ar-SA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توحيد الأداء" </a:t>
              </a:r>
              <a:r>
                <a:rPr lang="ar-EG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   </a:t>
              </a:r>
              <a:r>
                <a:rPr lang="ar-SA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مساءلة عن </a:t>
              </a:r>
              <a:r>
                <a:rPr lang="ar-SA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نتائج"</a:t>
              </a:r>
              <a:endParaRPr lang="ar-EG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endParaRPr>
            </a:p>
            <a:p>
              <a:pPr algn="r" rtl="1"/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المسؤولية البيئية والاجتماعية والإدارية"</a:t>
              </a:r>
              <a:endParaRPr lang="en-US" sz="2000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400196" y="5602013"/>
            <a:ext cx="4755980" cy="1015663"/>
            <a:chOff x="896140" y="5714136"/>
            <a:chExt cx="4755980" cy="1015663"/>
          </a:xfrm>
        </p:grpSpPr>
        <p:pic>
          <p:nvPicPr>
            <p:cNvPr id="8195" name="Picture 3" descr="Image result for undp logo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1653" y="5749270"/>
              <a:ext cx="420467" cy="8530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896140" y="5714136"/>
              <a:ext cx="4047481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rtl="1"/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المساءلة"   "</a:t>
              </a:r>
              <a:r>
                <a:rPr lang="ar-SA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نزاهة"</a:t>
              </a:r>
              <a:endParaRPr lang="ar-EG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endParaRPr>
            </a:p>
            <a:p>
              <a:pPr algn="r" rtl="1"/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الشفافية"   "الاحترام </a:t>
              </a:r>
              <a:r>
                <a:rPr lang="ar-SA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متبادل"</a:t>
              </a:r>
              <a:endParaRPr lang="ar-EG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endParaRPr>
            </a:p>
            <a:p>
              <a:pPr algn="r" rtl="1"/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المهارة المهنية" </a:t>
              </a:r>
              <a:r>
                <a:rPr lang="ar-EG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 </a:t>
              </a:r>
              <a:r>
                <a:rPr lang="ar-SA" sz="20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"</a:t>
              </a:r>
              <a:r>
                <a:rPr lang="ar-SA" sz="20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توجه نحو النتائج"</a:t>
              </a:r>
              <a:endParaRPr lang="en-US" sz="20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76052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3319" y="161227"/>
            <a:ext cx="7612058" cy="664840"/>
          </a:xfrm>
        </p:spPr>
        <p:txBody>
          <a:bodyPr>
            <a:noAutofit/>
          </a:bodyPr>
          <a:lstStyle/>
          <a:p>
            <a:pPr algn="r" rtl="1"/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دخلات الأمانة المقدمة إلى فريق العمل</a:t>
            </a: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95536" y="1046962"/>
            <a:ext cx="8153400" cy="5478382"/>
          </a:xfrm>
        </p:spPr>
        <p:txBody>
          <a:bodyPr>
            <a:normAutofit/>
          </a:bodyPr>
          <a:lstStyle/>
          <a:p>
            <a:pPr marL="355600" indent="-355600" algn="just" rtl="1">
              <a:lnSpc>
                <a:spcPct val="80000"/>
              </a:lnSpc>
              <a:spcAft>
                <a:spcPts val="600"/>
              </a:spcAft>
            </a:pPr>
            <a:r>
              <a:rPr lang="ar-SA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خطة 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عمل </a:t>
            </a:r>
            <a:r>
              <a:rPr lang="ar-SA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فريق العمل المعني بالتخطيط الاستراتيجي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2600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(SP-WG</a:t>
            </a:r>
            <a:r>
              <a:rPr lang="en-US" sz="2600" dirty="0" smtClean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ar-EG" sz="2600" dirty="0" smtClean="0">
              <a:latin typeface="+mj-lt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355600" indent="-355600" algn="just" rtl="1">
              <a:lnSpc>
                <a:spcPct val="80000"/>
              </a:lnSpc>
              <a:spcAft>
                <a:spcPts val="600"/>
              </a:spcAft>
            </a:pPr>
            <a:r>
              <a:rPr lang="ar-SA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حليل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حالة/</a:t>
            </a:r>
            <a:r>
              <a:rPr lang="ar-SA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حليل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ستراتيجي</a:t>
            </a:r>
            <a:endParaRPr lang="en-US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355600" indent="-355600" algn="just" rtl="1">
              <a:lnSpc>
                <a:spcPct val="80000"/>
              </a:lnSpc>
              <a:spcAft>
                <a:spcPts val="600"/>
              </a:spcAft>
            </a:pPr>
            <a:r>
              <a:rPr lang="ar-SA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رؤية</a:t>
            </a:r>
            <a:r>
              <a:rPr lang="ar-SA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اتحاد </a:t>
            </a:r>
            <a:r>
              <a:rPr lang="ar-SA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رسالته وقيمه وغاياته الاستراتيجية</a:t>
            </a:r>
            <a:r>
              <a:rPr lang="ar-SA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، الصيغة </a:t>
            </a:r>
            <a:r>
              <a:rPr lang="ar-EG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راجَعة </a:t>
            </a:r>
            <a:r>
              <a:rPr lang="ar-SA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ة</a:t>
            </a:r>
            <a:endParaRPr lang="en-US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355600" indent="-355600" algn="just" rtl="1">
              <a:lnSpc>
                <a:spcPct val="80000"/>
              </a:lnSpc>
              <a:spcAft>
                <a:spcPts val="600"/>
              </a:spcAft>
            </a:pP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عملية استعراض </a:t>
            </a:r>
            <a:r>
              <a:rPr lang="ar-SA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اصد</a:t>
            </a:r>
            <a:endParaRPr lang="en-US" b="1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355600" indent="-355600" algn="just" rtl="1">
              <a:lnSpc>
                <a:spcPct val="80000"/>
              </a:lnSpc>
              <a:spcAft>
                <a:spcPts val="600"/>
              </a:spcAft>
            </a:pP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حليل </a:t>
            </a:r>
            <a:r>
              <a:rPr lang="ar-SA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إدارة المخاطر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راتيجية</a:t>
            </a:r>
            <a:endParaRPr lang="en-US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355600" indent="-355600" algn="just" rtl="1">
              <a:lnSpc>
                <a:spcPct val="80000"/>
              </a:lnSpc>
              <a:spcAft>
                <a:spcPts val="600"/>
              </a:spcAft>
            </a:pP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حاد داخل منظومة الأمم المتحدة </a:t>
            </a:r>
            <a:r>
              <a:rPr lang="ar-SA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صلة بأهداف التنمية </a:t>
            </a:r>
            <a:r>
              <a:rPr lang="ar-SA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تدامة</a:t>
            </a:r>
            <a:endParaRPr lang="en-US" b="1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355600" indent="-355600" algn="just" rtl="1">
              <a:lnSpc>
                <a:spcPct val="80000"/>
              </a:lnSpc>
              <a:spcAft>
                <a:spcPts val="600"/>
              </a:spcAft>
            </a:pPr>
            <a:r>
              <a:rPr lang="ar-EG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روع أولي لإطار نتائج الاتحاد</a:t>
            </a:r>
            <a:endParaRPr lang="en-US" dirty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lvl="1" algn="just" rtl="1">
              <a:lnSpc>
                <a:spcPct val="80000"/>
              </a:lnSpc>
              <a:spcBef>
                <a:spcPts val="400"/>
              </a:spcBef>
            </a:pPr>
            <a:r>
              <a:rPr lang="ar-SA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/النتائج </a:t>
            </a:r>
            <a:r>
              <a:rPr lang="ar-SA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نواتج</a:t>
            </a:r>
            <a:endParaRPr lang="ar-EG" b="1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lvl="1" algn="just" rtl="1">
              <a:lnSpc>
                <a:spcPct val="80000"/>
              </a:lnSpc>
              <a:spcBef>
                <a:spcPts val="400"/>
              </a:spcBef>
            </a:pPr>
            <a:r>
              <a:rPr lang="ar-SA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وامل </a:t>
            </a:r>
            <a:r>
              <a:rPr lang="ar-SA" b="1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ة</a:t>
            </a:r>
            <a:r>
              <a:rPr lang="ar-SA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/خدمات الدعم</a:t>
            </a:r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964042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7584" y="228600"/>
            <a:ext cx="7703768" cy="990600"/>
          </a:xfrm>
        </p:spPr>
        <p:txBody>
          <a:bodyPr/>
          <a:lstStyle/>
          <a:p>
            <a:pPr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قيم - اقتراح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0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379040" y="1600200"/>
            <a:ext cx="8153400" cy="4853136"/>
          </a:xfrm>
        </p:spPr>
        <p:txBody>
          <a:bodyPr>
            <a:normAutofit fontScale="70000" lnSpcReduction="20000"/>
          </a:bodyPr>
          <a:lstStyle/>
          <a:p>
            <a:pPr marL="0" indent="0" algn="just" rtl="1">
              <a:spcBef>
                <a:spcPts val="1200"/>
              </a:spcBef>
              <a:spcAft>
                <a:spcPts val="600"/>
              </a:spcAft>
              <a:buNone/>
            </a:pPr>
            <a:r>
              <a:rPr lang="en-US" sz="3200" dirty="0" smtClean="0">
                <a:sym typeface="Wingdings" panose="05000000000000000000" pitchFamily="2" charset="2"/>
              </a:rPr>
              <a:t></a:t>
            </a:r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32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بيان </a:t>
            </a:r>
            <a:r>
              <a:rPr lang="ar-SA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 </a:t>
            </a:r>
            <a:r>
              <a:rPr lang="ar-SA" sz="32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لقيم</a:t>
            </a:r>
            <a:r>
              <a:rPr lang="ar-EG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en-US" dirty="0" smtClean="0"/>
          </a:p>
          <a:p>
            <a:pPr marL="0" indent="0" algn="just" rtl="1">
              <a:spcBef>
                <a:spcPts val="1200"/>
              </a:spcBef>
              <a:buNone/>
            </a:pPr>
            <a:r>
              <a:rPr lang="ar-SA" sz="3200" i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درك </a:t>
            </a: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حاد أن تحقيق رسالته، يتطلب أن يبني </a:t>
            </a:r>
            <a:r>
              <a:rPr lang="ar-SA" sz="3200" b="1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ثقة</a:t>
            </a: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ين أعضائه ويحافظ عليها، وأن يحظى </a:t>
            </a:r>
            <a:r>
              <a:rPr lang="ar-SA" sz="3200" b="1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ثقة</a:t>
            </a: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جمهور بوجه عام. وينطبق ذلك على ما يقوم به الاتحاد وعلى كيفية القيام به</a:t>
            </a:r>
            <a:r>
              <a:rPr lang="ar-SA" sz="3200" i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.</a:t>
            </a:r>
            <a:endParaRPr lang="en-US" i="1" dirty="0" smtClean="0"/>
          </a:p>
          <a:p>
            <a:pPr marL="0" indent="0" algn="just" rtl="1">
              <a:spcBef>
                <a:spcPts val="1200"/>
              </a:spcBef>
              <a:buNone/>
            </a:pP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لتزم الاتحاد ببناء هذه الثقة وصونها بصورة مستمرة من خلال ضمان أن تتيح أعماله، باعتبارها أداة تمكّن </a:t>
            </a:r>
            <a:r>
              <a:rPr lang="ar-EG" sz="3200" i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3200" i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3200" i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قدم </a:t>
            </a: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بشري: </a:t>
            </a:r>
            <a:endParaRPr lang="en-US" i="1" dirty="0" smtClean="0"/>
          </a:p>
          <a:p>
            <a:pPr algn="just" rtl="1">
              <a:spcBef>
                <a:spcPts val="1200"/>
              </a:spcBef>
            </a:pPr>
            <a:r>
              <a:rPr lang="ar-EG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</a:t>
            </a:r>
            <a:r>
              <a:rPr lang="ar-EG" sz="3200" b="1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بتكار</a:t>
            </a:r>
            <a:r>
              <a:rPr lang="ar-EG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3200" b="1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شمول </a:t>
            </a:r>
            <a:endParaRPr lang="en-US" i="1" dirty="0"/>
          </a:p>
          <a:p>
            <a:pPr algn="just" rtl="1">
              <a:spcBef>
                <a:spcPts val="1200"/>
              </a:spcBef>
            </a:pP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مكين </a:t>
            </a:r>
            <a:r>
              <a:rPr lang="ar-SA" sz="3200" b="1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عاون</a:t>
            </a: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3200" b="1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تنسيق </a:t>
            </a:r>
            <a:endParaRPr lang="en-US" i="1" dirty="0"/>
          </a:p>
          <a:p>
            <a:pPr algn="just" rtl="1">
              <a:spcBef>
                <a:spcPts val="1200"/>
              </a:spcBef>
            </a:pP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سعي من أجل تحقيق </a:t>
            </a:r>
            <a:r>
              <a:rPr lang="ar-SA" sz="3200" b="1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شفافية</a:t>
            </a: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3200" b="1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انفتاح</a:t>
            </a: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3200" b="1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حيادية</a:t>
            </a: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3200" b="1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نزاهة </a:t>
            </a:r>
            <a:endParaRPr lang="en-US" i="1" dirty="0" smtClean="0"/>
          </a:p>
          <a:p>
            <a:pPr algn="just" rtl="1">
              <a:spcBef>
                <a:spcPts val="1200"/>
              </a:spcBef>
            </a:pPr>
            <a:r>
              <a:rPr lang="ar-EG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اءلة عن تحقيق النتائج </a:t>
            </a:r>
            <a:r>
              <a:rPr lang="ar-EG" sz="3200" b="1" i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نزاهة.</a:t>
            </a:r>
            <a:endParaRPr lang="en-US" i="1" dirty="0" smtClean="0"/>
          </a:p>
          <a:p>
            <a:pPr marL="0" indent="0" algn="just" rtl="1">
              <a:spcBef>
                <a:spcPts val="1200"/>
              </a:spcBef>
              <a:buNone/>
            </a:pP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نتظر الاتحاد من جميع موظفيه الالتزام بإخلاص بمعايير السلوك في الخدمة المدنية الدولية ومدونة الأخلاقيات للاتحاد. ويتنظر الاتحاد أيضاً أن يتمسك كل شريك بأعلى </a:t>
            </a:r>
            <a:r>
              <a:rPr lang="ar-SA" sz="3200" i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ستويات</a:t>
            </a:r>
            <a:r>
              <a:rPr lang="ar-EG" sz="3200" i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3200" i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سلوك </a:t>
            </a:r>
            <a:r>
              <a:rPr lang="ar-SA" sz="32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خلاقي</a:t>
            </a:r>
            <a:r>
              <a:rPr lang="ar-SA" sz="3200" i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72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/>
          </a:bodyPr>
          <a:lstStyle/>
          <a:p>
            <a:pPr algn="r" rtl="1"/>
            <a:r>
              <a:rPr lang="ar-SA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غايات الاستراتيجية - اقتراح لإدخال تعديلات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pPr rtl="1"/>
            <a:fld id="{DDD2957A-38BF-4766-88FD-46AF2F4ED65D}" type="slidenum">
              <a:rPr lang="en-US" smtClean="0"/>
              <a:pPr rtl="1"/>
              <a:t>21</a:t>
            </a:fld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idx="1"/>
          </p:nvPr>
        </p:nvSpPr>
        <p:spPr>
          <a:xfrm>
            <a:off x="467544" y="1020851"/>
            <a:ext cx="6090028" cy="5733256"/>
          </a:xfrm>
        </p:spPr>
        <p:txBody>
          <a:bodyPr>
            <a:noAutofit/>
          </a:bodyPr>
          <a:lstStyle/>
          <a:p>
            <a:pPr algn="just" rtl="1">
              <a:spcBef>
                <a:spcPts val="600"/>
              </a:spcBef>
            </a:pPr>
            <a:r>
              <a:rPr lang="ar-SA" sz="17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نمو</a:t>
            </a:r>
            <a:r>
              <a:rPr lang="ar-SA" sz="17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تمكين وتعزيز النفاذ</a:t>
            </a:r>
            <a:r>
              <a:rPr lang="ar-EG" sz="17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إلى الخدمات الرقمية وزيادة استعمالها لبناء اقتصاد </a:t>
            </a:r>
            <a:r>
              <a:rPr lang="ar-EG" sz="17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7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17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مجتمع </a:t>
            </a:r>
            <a:r>
              <a:rPr lang="ar-EG" sz="17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رقميين </a:t>
            </a:r>
            <a:endParaRPr lang="en-US" sz="1700" dirty="0"/>
          </a:p>
          <a:p>
            <a:pPr marL="365760" lvl="1" indent="0" algn="just" rtl="1">
              <a:spcBef>
                <a:spcPts val="600"/>
              </a:spcBef>
              <a:buNone/>
            </a:pPr>
            <a:r>
              <a:rPr lang="ar-SA" sz="1600" spc="-1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-</a:t>
            </a:r>
            <a:r>
              <a:rPr lang="ar-SA" sz="1600" spc="-10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200" spc="-1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(2016</a:t>
            </a:r>
            <a:r>
              <a:rPr lang="en-US" sz="1200" spc="-1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r>
              <a:rPr lang="ar-EG" sz="1200" spc="-1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600" spc="-1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إتاحة </a:t>
            </a:r>
            <a:r>
              <a:rPr lang="ar-SA" sz="1600" spc="-1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تعزيز النفاذ إلى الاتصالات/تكنولوجيا المعلومات والاتصالات وزيادة استعمالها </a:t>
            </a:r>
            <a:endParaRPr lang="en-US" sz="1600" spc="-10" dirty="0" smtClean="0"/>
          </a:p>
          <a:p>
            <a:pPr algn="just" rtl="1">
              <a:spcBef>
                <a:spcPts val="1200"/>
              </a:spcBef>
            </a:pPr>
            <a:r>
              <a:rPr lang="ar-SA" sz="17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شمول</a:t>
            </a:r>
            <a:r>
              <a:rPr lang="ar-SA" sz="17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سد الفجوات من أجل إقامة مجتمع رقمي شامل للجميع وتوفير النفاذ </a:t>
            </a:r>
            <a:r>
              <a:rPr lang="ar-EG" sz="17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عريض النطاق "وضمان عدم تخلف أحد عن الركب</a:t>
            </a:r>
            <a:r>
              <a:rPr lang="ar-EG" sz="17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endParaRPr lang="en-US" sz="1700" strike="sngStrike" dirty="0" smtClean="0"/>
          </a:p>
          <a:p>
            <a:pPr marL="365760" lvl="1" indent="0" algn="just" rtl="1">
              <a:spcBef>
                <a:spcPts val="600"/>
              </a:spcBef>
              <a:buNone/>
            </a:pP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- </a:t>
            </a:r>
            <a:r>
              <a:rPr lang="en-US" sz="12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(2016)</a:t>
            </a:r>
            <a:r>
              <a:rPr lang="ar-SA" sz="1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سد 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فجوة الرقمية وتوفير النطاق العريض للجميع </a:t>
            </a:r>
            <a:endParaRPr lang="en-US" sz="1600" dirty="0"/>
          </a:p>
          <a:p>
            <a:pPr algn="just" rtl="1">
              <a:spcBef>
                <a:spcPts val="1200"/>
              </a:spcBef>
            </a:pPr>
            <a:r>
              <a:rPr lang="ar-SA" sz="17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دامة</a:t>
            </a:r>
            <a:r>
              <a:rPr lang="ar-SA" sz="17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إدارة المخاطر الناشئة والتحديات الناجمة عن زيادة استعمال الاتصالات/تكنولوجيا المعلومات والاتصالات </a:t>
            </a:r>
            <a:endParaRPr lang="en-US" sz="1700" dirty="0" smtClean="0"/>
          </a:p>
          <a:p>
            <a:pPr marL="365760" lvl="1" indent="0" algn="just" rtl="1">
              <a:spcBef>
                <a:spcPts val="600"/>
              </a:spcBef>
              <a:buNone/>
            </a:pP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- 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2016)</a:t>
            </a:r>
            <a:r>
              <a:rPr lang="ar-SA" sz="1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واجهة التحديات الناتجة عن تنمية الاتصالات/تكنولوجيا المعلومات والاتصالات </a:t>
            </a:r>
            <a:endParaRPr lang="en-US" sz="1600" dirty="0"/>
          </a:p>
          <a:p>
            <a:pPr algn="just" rtl="1">
              <a:spcBef>
                <a:spcPts val="1200"/>
              </a:spcBef>
            </a:pPr>
            <a:r>
              <a:rPr lang="ar-SA" sz="17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بتكار</a:t>
            </a:r>
            <a:r>
              <a:rPr lang="ar-SA" sz="17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تمكين التحول الرقمي للمجتمع والاقتصاد من خلال تيسير الابتكار في مجال الاتصالات/تكنولوجيا المعلومات والاتصالات </a:t>
            </a:r>
            <a:endParaRPr lang="en-US" sz="1700" dirty="0" smtClean="0"/>
          </a:p>
          <a:p>
            <a:pPr marL="365760" lvl="1" indent="0" algn="just" rtl="1">
              <a:spcBef>
                <a:spcPts val="600"/>
              </a:spcBef>
              <a:buNone/>
            </a:pP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- 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2016)</a:t>
            </a:r>
            <a:r>
              <a:rPr lang="ar-SA" sz="1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ضطلاع بدور ريادي في بيئة الاتصالات/تكنولوجيا المعلومات والاتصالات المتغيرة وتحسينها والتكيف معها </a:t>
            </a:r>
            <a:endParaRPr lang="en-US" sz="1600" dirty="0"/>
          </a:p>
          <a:p>
            <a:pPr marL="320040" lvl="1" indent="-320040" algn="just" rtl="1">
              <a:spcBef>
                <a:spcPts val="1200"/>
              </a:spcBef>
              <a:buClr>
                <a:schemeClr val="accent2"/>
              </a:buClr>
              <a:buSzPct val="60000"/>
              <a:buFont typeface="Wingdings"/>
              <a:buChar char=""/>
            </a:pPr>
            <a:r>
              <a:rPr lang="ar-SA" sz="17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شراكة</a:t>
            </a:r>
            <a:r>
              <a:rPr lang="ar-SA" sz="17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تعزيز التعاون بين الدول الأعضاء والقطاع الخاص، لا سيما المؤسسات الصغيرة والمتوسطة، والمؤسسات الأكاديمية والمنظمات الحكومية الدولية وجميع أصحاب المصلحة الآخرين، فيما يتعلق بدور الاتصالات/تكنولوجيا المعلومات والاتصالات في تنفيذ أهداف التنمية المستدامة </a:t>
            </a:r>
            <a:endParaRPr lang="en-US" sz="1700" dirty="0" smtClean="0"/>
          </a:p>
          <a:p>
            <a:pPr marL="365760" lvl="1" indent="0" algn="just" rtl="1">
              <a:spcBef>
                <a:spcPts val="600"/>
              </a:spcBef>
              <a:buNone/>
            </a:pP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- 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2016)</a:t>
            </a:r>
            <a:r>
              <a:rPr lang="ar-SA" sz="1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ضطلاع بدور ريادي في بيئة الاتصالات/تكنولوجيا المعلومات والاتصالات المتغيرة وتحسينها والتكيف معها </a:t>
            </a:r>
            <a:endParaRPr lang="en-US" sz="16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70315" y="1129407"/>
            <a:ext cx="1762125" cy="101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68440" y="2210685"/>
            <a:ext cx="1764000" cy="101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78588" y="3288054"/>
            <a:ext cx="1743703" cy="1003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000" y="4368201"/>
            <a:ext cx="1746000" cy="10050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9832" y="5445629"/>
            <a:ext cx="1744168" cy="1004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974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4981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اصد الاستراتيجية – يجري استعراضها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2</a:t>
            </a:fld>
            <a:endParaRPr lang="en-US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6692" y="1026771"/>
            <a:ext cx="6329381" cy="3914397"/>
          </a:xfrm>
          <a:prstGeom prst="rect">
            <a:avLst/>
          </a:prstGeom>
        </p:spPr>
      </p:pic>
      <p:sp>
        <p:nvSpPr>
          <p:cNvPr id="34" name="Content Placeholder 3"/>
          <p:cNvSpPr txBox="1">
            <a:spLocks/>
          </p:cNvSpPr>
          <p:nvPr/>
        </p:nvSpPr>
        <p:spPr>
          <a:xfrm>
            <a:off x="-36512" y="5013175"/>
            <a:ext cx="7975155" cy="1751639"/>
          </a:xfrm>
          <a:prstGeom prst="rect">
            <a:avLst/>
          </a:prstGeom>
        </p:spPr>
        <p:txBody>
          <a:bodyPr vert="horz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rtl="1">
              <a:spcBef>
                <a:spcPts val="300"/>
              </a:spcBef>
              <a:buNone/>
            </a:pPr>
            <a:r>
              <a:rPr lang="en-US" sz="1200" dirty="0" smtClean="0">
                <a:sym typeface="Wingdings" panose="05000000000000000000" pitchFamily="2" charset="2"/>
              </a:rPr>
              <a:t> </a:t>
            </a:r>
            <a:r>
              <a:rPr lang="ar-EG" sz="1200" dirty="0" smtClean="0">
                <a:sym typeface="Wingdings" panose="05000000000000000000" pitchFamily="2" charset="2"/>
              </a:rPr>
              <a:t> </a:t>
            </a: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قاصد </a:t>
            </a: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هداف التنمية المستدامة المتصلة بتكنولوجيا المعلومات </a:t>
            </a: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اتصالات</a:t>
            </a:r>
            <a:r>
              <a:rPr lang="ar-EG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en-US" sz="1600" b="1" dirty="0" smtClean="0"/>
          </a:p>
          <a:p>
            <a:pPr marL="180000" indent="-180000" algn="just" rtl="1">
              <a:spcBef>
                <a:spcPts val="400"/>
              </a:spcBef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 </a:t>
            </a:r>
            <a:r>
              <a:rPr lang="en-US" sz="105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4.4</a:t>
            </a: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نسبة الشباب/البالغين الذين يتمتعون بمهارات تكنولوجيا المعلومات والاتصالات، بحسب نوع </a:t>
            </a: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هارة</a:t>
            </a:r>
            <a:endParaRPr lang="en-US" sz="1600" dirty="0" smtClean="0"/>
          </a:p>
          <a:p>
            <a:pPr marL="180000" indent="-180000" algn="just" rtl="1">
              <a:spcBef>
                <a:spcPts val="400"/>
              </a:spcBef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 </a:t>
            </a:r>
            <a:r>
              <a:rPr lang="en-US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.</a:t>
            </a:r>
            <a:r>
              <a:rPr lang="en-US" sz="105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5</a:t>
            </a: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</a:t>
            </a: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نسبة الأفراد الذين لديهم هاتف محمول، بحسب نوع </a:t>
            </a: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جنس</a:t>
            </a:r>
            <a:endParaRPr lang="en-US" sz="1600" dirty="0" smtClean="0"/>
          </a:p>
          <a:p>
            <a:pPr marL="180000" indent="-180000" algn="just" rtl="1">
              <a:spcBef>
                <a:spcPts val="400"/>
              </a:spcBef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 </a:t>
            </a:r>
            <a:r>
              <a:rPr lang="en-US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.</a:t>
            </a:r>
            <a:r>
              <a:rPr lang="en-US" sz="105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9</a:t>
            </a: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ج</a:t>
            </a: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نسبة المئوية من السكان المشمولين بشبكة متنقلة، مصنفين بحسب </a:t>
            </a: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كنولوجيا</a:t>
            </a:r>
            <a:endParaRPr lang="en-US" sz="1600" dirty="0" smtClean="0"/>
          </a:p>
          <a:p>
            <a:pPr marL="180000" indent="-180000" algn="just" rtl="1">
              <a:spcBef>
                <a:spcPts val="400"/>
              </a:spcBef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 </a:t>
            </a:r>
            <a:r>
              <a:rPr lang="en-US" sz="105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6.17</a:t>
            </a: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نسبة المئوية للاشتراكات في شبكة الإنترنت الثابتة عريضة النطاق، مصنفة بحسب </a:t>
            </a: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سرعة</a:t>
            </a:r>
            <a:endParaRPr lang="en-US" sz="1600" dirty="0"/>
          </a:p>
          <a:p>
            <a:pPr marL="180000" indent="-180000" algn="just" rtl="1">
              <a:spcBef>
                <a:spcPts val="400"/>
              </a:spcBef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 </a:t>
            </a:r>
            <a:r>
              <a:rPr lang="en-US" sz="105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8.17</a:t>
            </a: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نسبة الأفراد الذين يستخدمون </a:t>
            </a: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إنترنت</a:t>
            </a:r>
            <a:endParaRPr lang="en-US" sz="1600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323528" y="5013176"/>
            <a:ext cx="81369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3"/>
          <p:cNvSpPr txBox="1">
            <a:spLocks/>
          </p:cNvSpPr>
          <p:nvPr/>
        </p:nvSpPr>
        <p:spPr>
          <a:xfrm>
            <a:off x="7908832" y="5361299"/>
            <a:ext cx="598208" cy="1312505"/>
          </a:xfrm>
          <a:prstGeom prst="rect">
            <a:avLst/>
          </a:prstGeom>
        </p:spPr>
        <p:txBody>
          <a:bodyPr vert="horz" lIns="0" tIns="36000" rIns="0" bIns="36000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rtl="1">
              <a:lnSpc>
                <a:spcPct val="80000"/>
              </a:lnSpc>
              <a:spcBef>
                <a:spcPts val="1200"/>
              </a:spcBef>
              <a:buNone/>
            </a:pPr>
            <a:r>
              <a:rPr lang="en-US" sz="1200" b="1" dirty="0">
                <a:solidFill>
                  <a:srgbClr val="4D7CB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sym typeface="Wingdings" panose="05000000000000000000" pitchFamily="2" charset="2"/>
              </a:rPr>
              <a:t></a:t>
            </a:r>
            <a:r>
              <a:rPr lang="ar-EG" sz="1200" b="1" dirty="0">
                <a:solidFill>
                  <a:srgbClr val="4D7CB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الشمول </a:t>
            </a:r>
            <a:endParaRPr lang="en-US" sz="1200" b="1" dirty="0">
              <a:solidFill>
                <a:srgbClr val="4D7CB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0" indent="0" algn="just" rtl="1">
              <a:lnSpc>
                <a:spcPct val="80000"/>
              </a:lnSpc>
              <a:spcBef>
                <a:spcPts val="1200"/>
              </a:spcBef>
              <a:buNone/>
            </a:pPr>
            <a:r>
              <a:rPr lang="en-US" sz="1200" b="1" dirty="0">
                <a:solidFill>
                  <a:srgbClr val="4D7CB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sym typeface="Wingdings" panose="05000000000000000000" pitchFamily="2" charset="2"/>
              </a:rPr>
              <a:t></a:t>
            </a:r>
            <a:r>
              <a:rPr lang="ar-EG" sz="1200" b="1" dirty="0">
                <a:solidFill>
                  <a:srgbClr val="4D7CB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الشمول </a:t>
            </a:r>
            <a:endParaRPr lang="en-US" sz="1200" b="1" dirty="0">
              <a:solidFill>
                <a:srgbClr val="4D7CB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0" indent="0" algn="just" rtl="1">
              <a:lnSpc>
                <a:spcPct val="80000"/>
              </a:lnSpc>
              <a:spcBef>
                <a:spcPts val="1200"/>
              </a:spcBef>
              <a:buNone/>
            </a:pPr>
            <a:r>
              <a:rPr lang="en-US" sz="1200" b="1" dirty="0" smtClean="0">
                <a:solidFill>
                  <a:srgbClr val="4D7CB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sym typeface="Wingdings" panose="05000000000000000000" pitchFamily="2" charset="2"/>
              </a:rPr>
              <a:t></a:t>
            </a:r>
            <a:r>
              <a:rPr lang="ar-EG" sz="1200" b="1" dirty="0" smtClean="0">
                <a:solidFill>
                  <a:srgbClr val="4D7CB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EG" sz="1200" b="1" dirty="0">
                <a:solidFill>
                  <a:srgbClr val="4D7CB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شمول </a:t>
            </a:r>
            <a:endParaRPr lang="en-US" sz="1200" b="1" dirty="0">
              <a:solidFill>
                <a:srgbClr val="4D7CB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0" indent="0" algn="just" rtl="1">
              <a:lnSpc>
                <a:spcPct val="80000"/>
              </a:lnSpc>
              <a:spcBef>
                <a:spcPts val="1200"/>
              </a:spcBef>
              <a:buNone/>
            </a:pPr>
            <a:r>
              <a:rPr lang="en-US" sz="1200" b="1" dirty="0" smtClean="0">
                <a:solidFill>
                  <a:srgbClr val="4D7CB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sym typeface="Wingdings" panose="05000000000000000000" pitchFamily="2" charset="2"/>
              </a:rPr>
              <a:t> </a:t>
            </a:r>
            <a:r>
              <a:rPr lang="ar-EG" sz="1200" b="1" dirty="0" smtClean="0">
                <a:solidFill>
                  <a:srgbClr val="4D7CB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 النمو</a:t>
            </a:r>
            <a:endParaRPr lang="en-US" sz="1200" b="1" dirty="0" smtClean="0">
              <a:solidFill>
                <a:srgbClr val="4D7CB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0" indent="0" algn="just" rtl="1">
              <a:lnSpc>
                <a:spcPct val="80000"/>
              </a:lnSpc>
              <a:spcBef>
                <a:spcPts val="1200"/>
              </a:spcBef>
              <a:buNone/>
            </a:pPr>
            <a:r>
              <a:rPr lang="en-US" sz="1200" b="1" dirty="0" smtClean="0">
                <a:solidFill>
                  <a:srgbClr val="4D7CB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sym typeface="Wingdings" panose="05000000000000000000" pitchFamily="2" charset="2"/>
              </a:rPr>
              <a:t></a:t>
            </a:r>
            <a:r>
              <a:rPr lang="ar-EG" sz="1200" b="1" dirty="0" smtClean="0">
                <a:solidFill>
                  <a:srgbClr val="4D7CB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  <a:sym typeface="Wingdings" panose="05000000000000000000" pitchFamily="2" charset="2"/>
              </a:rPr>
              <a:t> النمو</a:t>
            </a:r>
            <a:endParaRPr lang="en-US" sz="1200" b="1" dirty="0">
              <a:solidFill>
                <a:srgbClr val="4D7CB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07504" y="948653"/>
            <a:ext cx="6480720" cy="4003556"/>
            <a:chOff x="107504" y="948653"/>
            <a:chExt cx="6480720" cy="4003556"/>
          </a:xfrm>
        </p:grpSpPr>
        <p:cxnSp>
          <p:nvCxnSpPr>
            <p:cNvPr id="28" name="Curved Connector 27"/>
            <p:cNvCxnSpPr>
              <a:endCxn id="5" idx="2"/>
            </p:cNvCxnSpPr>
            <p:nvPr/>
          </p:nvCxnSpPr>
          <p:spPr>
            <a:xfrm rot="10800000">
              <a:off x="1059926" y="2755697"/>
              <a:ext cx="3008018" cy="926749"/>
            </a:xfrm>
            <a:prstGeom prst="curvedConnector2">
              <a:avLst/>
            </a:prstGeom>
            <a:ln w="12700">
              <a:solidFill>
                <a:srgbClr val="BF8D2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Left Brace 35"/>
            <p:cNvSpPr/>
            <p:nvPr/>
          </p:nvSpPr>
          <p:spPr>
            <a:xfrm>
              <a:off x="2267744" y="973266"/>
              <a:ext cx="378415" cy="2306635"/>
            </a:xfrm>
            <a:prstGeom prst="leftBrace">
              <a:avLst>
                <a:gd name="adj1" fmla="val 39656"/>
                <a:gd name="adj2" fmla="val 44100"/>
              </a:avLst>
            </a:prstGeom>
            <a:solidFill>
              <a:srgbClr val="F36A2D"/>
            </a:solidFill>
            <a:ln w="38100">
              <a:solidFill>
                <a:srgbClr val="1249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8" name="Picture 14" descr="https://sustainabledevelopment.un.org/content/images/E_SDG_Icons-09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6040" y="1242776"/>
              <a:ext cx="756000" cy="75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6" descr="https://sustainabledevelopment.un.org/content/images/E_SDG_Icons-17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6040" y="1988840"/>
              <a:ext cx="756000" cy="75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10" descr="https://sustainabledevelopment.un.org/content/images/E_SDG_Icons-04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1366" y="4381938"/>
              <a:ext cx="568800" cy="568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TextBox 41"/>
            <p:cNvSpPr txBox="1"/>
            <p:nvPr/>
          </p:nvSpPr>
          <p:spPr>
            <a:xfrm>
              <a:off x="1835696" y="4048059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C7212F"/>
                  </a:solidFill>
                  <a:sym typeface="Wingdings" panose="05000000000000000000" pitchFamily="2" charset="2"/>
                </a:rPr>
                <a:t></a:t>
              </a:r>
              <a:endParaRPr lang="en-US" b="1" dirty="0">
                <a:solidFill>
                  <a:srgbClr val="C7212F"/>
                </a:solidFill>
              </a:endParaRPr>
            </a:p>
          </p:txBody>
        </p:sp>
        <p:cxnSp>
          <p:nvCxnSpPr>
            <p:cNvPr id="43" name="Curved Connector 42"/>
            <p:cNvCxnSpPr>
              <a:endCxn id="37" idx="3"/>
            </p:cNvCxnSpPr>
            <p:nvPr/>
          </p:nvCxnSpPr>
          <p:spPr>
            <a:xfrm rot="10800000" flipV="1">
              <a:off x="1943640" y="2881150"/>
              <a:ext cx="2916392" cy="709833"/>
            </a:xfrm>
            <a:prstGeom prst="curvedConnector3">
              <a:avLst>
                <a:gd name="adj1" fmla="val 72536"/>
              </a:avLst>
            </a:prstGeom>
            <a:ln w="12700">
              <a:solidFill>
                <a:srgbClr val="EF402D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4125" y="4383619"/>
              <a:ext cx="568590" cy="56859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520" y="3724506"/>
              <a:ext cx="568590" cy="568590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437" y="2870609"/>
              <a:ext cx="568800" cy="568800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04" y="1611214"/>
              <a:ext cx="568590" cy="568590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4899" y="948653"/>
              <a:ext cx="568590" cy="568590"/>
            </a:xfrm>
            <a:prstGeom prst="rect">
              <a:avLst/>
            </a:prstGeom>
          </p:spPr>
        </p:pic>
        <p:cxnSp>
          <p:nvCxnSpPr>
            <p:cNvPr id="62" name="Curved Connector 61"/>
            <p:cNvCxnSpPr>
              <a:endCxn id="49" idx="2"/>
            </p:cNvCxnSpPr>
            <p:nvPr/>
          </p:nvCxnSpPr>
          <p:spPr>
            <a:xfrm rot="10800000">
              <a:off x="391800" y="2179805"/>
              <a:ext cx="4900281" cy="1889433"/>
            </a:xfrm>
            <a:prstGeom prst="curvedConnector2">
              <a:avLst/>
            </a:prstGeom>
            <a:ln w="12700">
              <a:solidFill>
                <a:srgbClr val="407F4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urved Connector 67"/>
            <p:cNvCxnSpPr>
              <a:endCxn id="47" idx="3"/>
            </p:cNvCxnSpPr>
            <p:nvPr/>
          </p:nvCxnSpPr>
          <p:spPr>
            <a:xfrm rot="10800000" flipV="1">
              <a:off x="820110" y="3160239"/>
              <a:ext cx="5768114" cy="848561"/>
            </a:xfrm>
            <a:prstGeom prst="curvedConnector3">
              <a:avLst>
                <a:gd name="adj1" fmla="val 66678"/>
              </a:avLst>
            </a:prstGeom>
            <a:ln w="12700">
              <a:solidFill>
                <a:srgbClr val="DE176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694876" y="2960825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rgbClr val="F89D2A"/>
                  </a:solidFill>
                  <a:sym typeface="Wingdings" panose="05000000000000000000" pitchFamily="2" charset="2"/>
                </a:rPr>
                <a:t></a:t>
              </a:r>
              <a:endParaRPr lang="en-US" b="1" dirty="0">
                <a:solidFill>
                  <a:srgbClr val="F89D2A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934125" y="147659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136A9F"/>
                  </a:solidFill>
                  <a:sym typeface="Wingdings" panose="05000000000000000000" pitchFamily="2" charset="2"/>
                </a:rPr>
                <a:t></a:t>
              </a:r>
              <a:endParaRPr lang="en-US" b="1" dirty="0">
                <a:solidFill>
                  <a:srgbClr val="136A9F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1013798" y="4057488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A41C44"/>
                  </a:solidFill>
                  <a:sym typeface="Wingdings" panose="05000000000000000000" pitchFamily="2" charset="2"/>
                </a:rPr>
                <a:t></a:t>
              </a:r>
              <a:endParaRPr lang="en-US" b="1" dirty="0">
                <a:solidFill>
                  <a:srgbClr val="A41C44"/>
                </a:solidFill>
              </a:endParaRPr>
            </a:p>
          </p:txBody>
        </p:sp>
        <p:pic>
          <p:nvPicPr>
            <p:cNvPr id="37" name="Picture 12" descr="https://sustainabledevelopment.un.org/content/images/E_SDG_Icons-05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1640" y="3284984"/>
              <a:ext cx="612000" cy="61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5526" y="2186896"/>
              <a:ext cx="568800" cy="568800"/>
            </a:xfrm>
            <a:prstGeom prst="rect">
              <a:avLst/>
            </a:prstGeom>
          </p:spPr>
        </p:pic>
        <p:sp>
          <p:nvSpPr>
            <p:cNvPr id="32" name="TextBox 31"/>
            <p:cNvSpPr txBox="1"/>
            <p:nvPr/>
          </p:nvSpPr>
          <p:spPr>
            <a:xfrm>
              <a:off x="1609443" y="2700393"/>
              <a:ext cx="3898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14496B"/>
                  </a:solidFill>
                  <a:sym typeface="Wingdings" panose="05000000000000000000" pitchFamily="2" charset="2"/>
                </a:rPr>
                <a:t></a:t>
              </a:r>
              <a:endParaRPr lang="en-US" b="1" dirty="0">
                <a:solidFill>
                  <a:srgbClr val="14496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2614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Y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غاية </a:t>
            </a:r>
            <a:r>
              <a:rPr lang="en-GB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</a:t>
            </a:r>
            <a:endParaRPr lang="en-US" sz="6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3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771800" y="1046962"/>
            <a:ext cx="5759551" cy="5811038"/>
          </a:xfrm>
        </p:spPr>
        <p:txBody>
          <a:bodyPr>
            <a:noAutofit/>
          </a:bodyPr>
          <a:lstStyle/>
          <a:p>
            <a:pPr marL="457200" lvl="0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SA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US" sz="1100" b="1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1.1</a:t>
            </a:r>
            <a:r>
              <a:rPr lang="ar-SY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في جميع أنحاء العالم، توصيل نسبة </a:t>
            </a:r>
            <a:r>
              <a:rPr lang="en-US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GB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55</a:t>
            </a:r>
            <a:r>
              <a:rPr lang="ar-EG" sz="15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Y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ن </a:t>
            </a:r>
            <a:r>
              <a:rPr lang="ar-SY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أسر </a:t>
            </a:r>
            <a:r>
              <a:rPr lang="en-US" sz="1500" dirty="0" smtClean="0">
                <a:latin typeface="Traditional Arabic" panose="02020603050405020304" pitchFamily="18" charset="-78"/>
                <a:ea typeface="Calibri"/>
                <a:cs typeface="Traditional Arabic" panose="02020603050405020304" pitchFamily="18" charset="-78"/>
                <a:sym typeface="Calibri"/>
              </a:rPr>
              <a:t> </a:t>
            </a:r>
            <a:endParaRPr lang="en-US" sz="1500" dirty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just" rtl="1"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متوقع تحقيق </a:t>
            </a:r>
            <a:r>
              <a:rPr lang="ar-SA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ذلك</a:t>
            </a:r>
            <a:endParaRPr lang="en-US" sz="1500" dirty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○"/>
            </a:pPr>
            <a:r>
              <a:rPr lang="ar-SA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بحلول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2023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65</a:t>
            </a:r>
            <a:r>
              <a:rPr lang="ar-EG" sz="15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/ بحلول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2025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US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70</a:t>
            </a:r>
            <a:endParaRPr lang="en-US" sz="1100" dirty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n-US" sz="800" dirty="0" smtClean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SA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US" sz="1100" b="1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2.1</a:t>
            </a:r>
            <a:r>
              <a:rPr lang="ar-SY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في جميع أنحاء العالم، ينبغي لنسبة مستعملي الإنترنت من الأفراد أن تصل إلى </a:t>
            </a:r>
            <a:r>
              <a:rPr lang="en-GB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60</a:t>
            </a:r>
            <a:r>
              <a:rPr lang="ar-SY" sz="15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Y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حلول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r>
              <a:rPr lang="ar-EG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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dirty="0" smtClean="0">
                <a:solidFill>
                  <a:srgbClr val="385723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هدف </a:t>
            </a:r>
            <a:r>
              <a:rPr lang="ar-EG" sz="1500" dirty="0">
                <a:solidFill>
                  <a:srgbClr val="385723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نمية المستدامة </a:t>
            </a:r>
            <a:r>
              <a:rPr lang="en-US" sz="1100" dirty="0" smtClean="0">
                <a:solidFill>
                  <a:srgbClr val="385723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1.8.17</a:t>
            </a:r>
            <a:endParaRPr lang="en-US" sz="1100" dirty="0">
              <a:solidFill>
                <a:srgbClr val="385723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just" rtl="1"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متوقع تحقيق </a:t>
            </a:r>
            <a:r>
              <a:rPr lang="ar-SA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ذلك</a:t>
            </a:r>
            <a:endParaRPr lang="en-US" sz="1500" dirty="0" smtClean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just" rtl="1"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بحلول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2023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65</a:t>
            </a:r>
            <a:r>
              <a:rPr lang="ar-EG" sz="15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/ بحلول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2025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US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70</a:t>
            </a:r>
            <a:endParaRPr lang="en-US" sz="1100" dirty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n-US" sz="800" dirty="0" smtClean="0">
              <a:solidFill>
                <a:srgbClr val="000000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SA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US" sz="1100" b="1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3.1</a:t>
            </a:r>
            <a:r>
              <a:rPr lang="ar-SY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في جميع أنحاء العالم، ينبغي أن تنخفض أسعار تكنولوجيا المعلومات والاتصالات </a:t>
            </a:r>
            <a:r>
              <a:rPr lang="ar-EG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Y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نسبة </a:t>
            </a:r>
            <a:r>
              <a:rPr lang="en-US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GB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40</a:t>
            </a:r>
            <a:r>
              <a:rPr lang="ar-SY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بحلول </a:t>
            </a:r>
            <a:r>
              <a:rPr lang="en-GB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endParaRPr lang="en-US" sz="11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just" rtl="1"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توقع البلدان المتقدمة تحقيق نسبة: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US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32,5</a:t>
            </a:r>
            <a:r>
              <a:rPr lang="en-US" sz="1500" dirty="0" smtClean="0"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</a:t>
            </a:r>
            <a:endParaRPr lang="en-US" sz="15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just" rtl="1"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توقع البلدان النامية تحقيق نسبة: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US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33,0</a:t>
            </a:r>
            <a:r>
              <a:rPr lang="en-US" sz="1500" dirty="0" smtClean="0"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</a:t>
            </a:r>
            <a:endParaRPr lang="en-US" sz="15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○"/>
            </a:pPr>
            <a:r>
              <a:rPr lang="ar-SA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بحلول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2023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انخفاض الأسعار بنسبة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25</a:t>
            </a:r>
            <a:r>
              <a:rPr lang="ar-EG" sz="15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/ بحلول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2025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انخفاض الأسعار بنسبة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30</a:t>
            </a:r>
            <a:r>
              <a:rPr lang="ar-EG" sz="15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المقارنة مع </a:t>
            </a:r>
            <a:r>
              <a:rPr lang="en-US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2016</a:t>
            </a:r>
            <a:endParaRPr lang="en-US" sz="1100" dirty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endParaRPr lang="en-US" sz="800" b="1" dirty="0" smtClean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r>
              <a:rPr lang="ar-EG" sz="15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</a:t>
            </a:r>
            <a:r>
              <a:rPr lang="en-US" sz="1100" b="1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4.1</a:t>
            </a:r>
            <a:r>
              <a:rPr lang="en-US" sz="15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الجديد</a:t>
            </a:r>
            <a:r>
              <a:rPr lang="ar-EG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، اقتراح: 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حلول </a:t>
            </a:r>
            <a:r>
              <a:rPr lang="en-US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2025/2023</a:t>
            </a:r>
            <a:r>
              <a:rPr lang="ar-EG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، 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ينبغي لجميع البلدان أن تعتمد خطة/استراتيجية </a:t>
            </a:r>
            <a:r>
              <a:rPr lang="ar-EG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رقمية</a:t>
            </a:r>
            <a:endParaRPr lang="en-US" sz="1500" dirty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endParaRPr lang="en-US" sz="800" b="1" dirty="0" smtClean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r>
              <a:rPr lang="ar-EG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US" sz="1100" b="1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5.1</a:t>
            </a:r>
            <a:r>
              <a:rPr lang="ar-EG" sz="15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يد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، </a:t>
            </a:r>
            <a:r>
              <a:rPr lang="ar-EG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قتراح: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x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من الشركات الصغيرة والمتوسطة تقوم بالبيع على </a:t>
            </a:r>
            <a:r>
              <a:rPr lang="ar-EG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خط</a:t>
            </a:r>
            <a:endParaRPr lang="en-US" sz="1500" dirty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lvl="0" algn="just" rtl="1">
              <a:spcBef>
                <a:spcPts val="0"/>
              </a:spcBef>
              <a:buNone/>
            </a:pPr>
            <a:endParaRPr lang="en-US" sz="800" dirty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US" sz="1100" b="1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6.1</a:t>
            </a:r>
            <a:r>
              <a:rPr lang="ar-EG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الجديد</a:t>
            </a:r>
            <a:r>
              <a:rPr lang="en-US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</a:t>
            </a:r>
            <a:r>
              <a:rPr lang="en-US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dirty="0">
                <a:solidFill>
                  <a:srgbClr val="385723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هدف التنمية </a:t>
            </a:r>
            <a:r>
              <a:rPr lang="ar-EG" sz="1500" dirty="0" smtClean="0">
                <a:solidFill>
                  <a:srgbClr val="385723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تدامة</a:t>
            </a:r>
            <a:r>
              <a:rPr lang="en-US" sz="1100" dirty="0" smtClean="0">
                <a:solidFill>
                  <a:srgbClr val="385723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2.6.17</a:t>
            </a:r>
            <a:r>
              <a:rPr lang="en-US" sz="1500" dirty="0" smtClean="0">
                <a:solidFill>
                  <a:srgbClr val="385723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dirty="0" smtClean="0">
                <a:solidFill>
                  <a:srgbClr val="385723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(النطاق </a:t>
            </a:r>
            <a:r>
              <a:rPr lang="ar-EG" sz="1500" dirty="0">
                <a:solidFill>
                  <a:srgbClr val="385723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عريض الثابت، بحسب السرعة</a:t>
            </a:r>
            <a:r>
              <a:rPr lang="ar-EG" sz="1500" dirty="0" smtClean="0">
                <a:solidFill>
                  <a:srgbClr val="385723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500" dirty="0" smtClean="0">
              <a:solidFill>
                <a:srgbClr val="385723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just" rtl="1">
              <a:spcBef>
                <a:spcPts val="0"/>
              </a:spcBef>
              <a:buSzPct val="100694"/>
              <a:buFont typeface="Noto Sans Symbols"/>
              <a:buChar char="○"/>
            </a:pPr>
            <a:r>
              <a:rPr lang="ar-SA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زيادة اشتراكات النطاق العريض الثابت بنسبة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US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x</a:t>
            </a:r>
            <a:endParaRPr lang="en-US" sz="11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just" rtl="1">
              <a:spcBef>
                <a:spcPts val="0"/>
              </a:spcBef>
              <a:buSzPct val="100694"/>
              <a:buFont typeface="Noto Sans Symbols"/>
              <a:buChar char="○"/>
            </a:pPr>
            <a:r>
              <a:rPr lang="ar-SA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حيازة نسبة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x</a:t>
            </a:r>
            <a:r>
              <a:rPr lang="ar-SA" sz="15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بلدان لنسبة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50</a:t>
            </a:r>
            <a:r>
              <a:rPr lang="ar-SA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ن اشتراكات النطاق العريض الثابت بمعدل يتجاوز 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Mbit </a:t>
            </a:r>
            <a:r>
              <a:rPr lang="en-US" sz="11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10</a:t>
            </a:r>
            <a:endParaRPr lang="en-US" sz="1100" dirty="0" smtClean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just" rtl="1">
              <a:spcBef>
                <a:spcPts val="0"/>
              </a:spcBef>
              <a:buSzPct val="100694"/>
              <a:buFont typeface="Noto Sans Symbols"/>
              <a:buChar char="○"/>
            </a:pPr>
            <a:endParaRPr lang="en-US" sz="800" dirty="0">
              <a:solidFill>
                <a:srgbClr val="000000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indent="-343693" algn="just" rtl="1"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r>
              <a:rPr lang="ar-EG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US" sz="1100" b="1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7.1</a:t>
            </a:r>
            <a:r>
              <a:rPr lang="ar-EG" sz="1500" b="1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يد </a:t>
            </a:r>
            <a:r>
              <a:rPr lang="en-US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</a:t>
            </a:r>
            <a:r>
              <a:rPr lang="en-US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500" dirty="0" smtClean="0">
                <a:solidFill>
                  <a:srgbClr val="385723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هدف </a:t>
            </a:r>
            <a:r>
              <a:rPr lang="ar-EG" sz="1500" dirty="0">
                <a:solidFill>
                  <a:srgbClr val="385723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نمية المستدامة </a:t>
            </a:r>
            <a:r>
              <a:rPr lang="en-US" sz="1100" dirty="0">
                <a:solidFill>
                  <a:srgbClr val="385723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2.10.16</a:t>
            </a:r>
            <a:r>
              <a:rPr lang="ar-SA" sz="1500" dirty="0">
                <a:solidFill>
                  <a:srgbClr val="385723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(النفاذ العام إلى المعلومات</a:t>
            </a:r>
            <a:r>
              <a:rPr lang="ar-SA" sz="1500" dirty="0" smtClean="0">
                <a:solidFill>
                  <a:srgbClr val="385723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500" dirty="0" smtClean="0">
              <a:solidFill>
                <a:srgbClr val="385723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just" rtl="1">
              <a:spcBef>
                <a:spcPts val="0"/>
              </a:spcBef>
              <a:buSzPct val="100694"/>
              <a:buFont typeface="Noto Sans Symbols"/>
              <a:buChar char="○"/>
            </a:pPr>
            <a:r>
              <a:rPr lang="ar-SA" sz="15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قتراح:</a:t>
            </a: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تفاعل نسبة </a:t>
            </a:r>
            <a:r>
              <a:rPr lang="en-US" sz="11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x</a:t>
            </a:r>
            <a:r>
              <a:rPr lang="ar-SA" sz="15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5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سكان مع الخدمات الحكومية على </a:t>
            </a:r>
            <a:r>
              <a:rPr lang="ar-SA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خط</a:t>
            </a:r>
            <a:endParaRPr lang="en-US" sz="1500" dirty="0" smtClean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</p:txBody>
      </p:sp>
      <p:pic>
        <p:nvPicPr>
          <p:cNvPr id="5" name="Shape 91" title="Target 1.1 &amp; 2.1.A: Households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41" y="984920"/>
            <a:ext cx="2877075" cy="258449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Shape 92" title="Target 1.2, 2.2.A, 2.2.B: Individuals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7688" y="3645024"/>
            <a:ext cx="2820175" cy="2235638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55599" y="5880662"/>
            <a:ext cx="27849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algn="just" rtl="1"/>
            <a:r>
              <a:rPr lang="ar-SA" sz="1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* المصدر: بيانات الاتحاد (قاعدة بيانات مؤشرات الاتصالات/تكنولوجيا المعلومات والاتصالات في العالم</a:t>
            </a:r>
            <a:r>
              <a:rPr lang="ar-SA" sz="1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801858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غاية </a:t>
            </a:r>
            <a:r>
              <a:rPr lang="en-US" sz="4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</a:t>
            </a:r>
            <a:endParaRPr lang="en-US" sz="40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4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788024" y="1014952"/>
            <a:ext cx="4427992" cy="5744635"/>
          </a:xfrm>
        </p:spPr>
        <p:txBody>
          <a:bodyPr>
            <a:normAutofit lnSpcReduction="10000"/>
          </a:bodyPr>
          <a:lstStyle/>
          <a:p>
            <a:pPr marL="457200" lvl="0" indent="-180000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1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A.1.2</a:t>
            </a:r>
            <a:r>
              <a:rPr lang="ar-SY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في العالم النامي، توصيل نسبة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GB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50</a:t>
            </a:r>
            <a:r>
              <a:rPr lang="ar-SY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Y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أسر </a:t>
            </a:r>
            <a:endParaRPr lang="en-US" sz="1600" dirty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180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متوقع تحقيق </a:t>
            </a: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ذلك</a:t>
            </a:r>
            <a:endParaRPr lang="en-US" sz="1600" dirty="0" smtClean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180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حلول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3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55</a:t>
            </a:r>
            <a:r>
              <a:rPr lang="ar-EG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/ بحلول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5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60</a:t>
            </a:r>
            <a:r>
              <a:rPr lang="en-US" sz="11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endParaRPr lang="en-US" sz="1100" dirty="0" smtClean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180000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n-US" sz="1600" b="1" dirty="0" smtClean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180000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SY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1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B.1.2</a:t>
            </a:r>
            <a:r>
              <a:rPr lang="ar-SY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في أقل البلدان نمواً </a:t>
            </a:r>
            <a:r>
              <a:rPr lang="en-GB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LDC)</a:t>
            </a:r>
            <a:r>
              <a:rPr lang="ar-SY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، 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GB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5</a:t>
            </a:r>
            <a:r>
              <a:rPr lang="en-GB" sz="11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1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أسر</a:t>
            </a:r>
            <a:endParaRPr lang="en-US" sz="1600" dirty="0" smtClean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180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متوقع تحقيق ذلك</a:t>
            </a:r>
            <a:endParaRPr lang="en-US" sz="1600" dirty="0" smtClean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180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</a:t>
            </a: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حلول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3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25</a:t>
            </a:r>
            <a:r>
              <a:rPr lang="ar-EG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/ بحلول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5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30</a:t>
            </a:r>
            <a:endParaRPr lang="en-US" sz="1100" dirty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180000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n-US" sz="1600" b="1" spc="-20" dirty="0" smtClean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180000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100" b="1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A.2.2</a:t>
            </a:r>
            <a:r>
              <a:rPr lang="ar-SY" sz="1600" b="1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6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في العالم النامي، استعمال نسبة </a:t>
            </a:r>
            <a:r>
              <a:rPr lang="en-US" sz="11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GB" sz="11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50</a:t>
            </a:r>
            <a:r>
              <a:rPr lang="en-GB" sz="1100" spc="-2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100" spc="-2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</a:t>
            </a:r>
            <a:r>
              <a:rPr lang="ar-EG" sz="16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فراد للإنترنت </a:t>
            </a:r>
            <a:r>
              <a:rPr lang="ar-SY" sz="16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حلول </a:t>
            </a:r>
            <a:r>
              <a:rPr lang="en-GB" sz="11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endParaRPr lang="en-US" sz="1100" spc="-20" dirty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180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متوقع تحقيق </a:t>
            </a: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ذلك</a:t>
            </a:r>
            <a:endParaRPr lang="en-US" sz="1600" dirty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180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حلول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3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55</a:t>
            </a:r>
            <a:r>
              <a:rPr lang="ar-EG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/ بحلول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5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60</a:t>
            </a:r>
            <a:endParaRPr lang="en-US" sz="1100" dirty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180000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n-US" sz="16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180000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SY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1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B.2.2</a:t>
            </a:r>
            <a:r>
              <a:rPr lang="ar-SY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في 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قل البلدان نمواً </a:t>
            </a:r>
            <a:r>
              <a:rPr lang="en-GB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LDC)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، </a:t>
            </a:r>
            <a:r>
              <a:rPr lang="ar-SY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نبغي لنسبة مستعملي الإنترنت من الأفراد أن تصل إلى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GB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</a:t>
            </a:r>
            <a:r>
              <a:rPr lang="ar-SY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Y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حلول </a:t>
            </a:r>
            <a:r>
              <a:rPr lang="en-GB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endParaRPr lang="en-US" sz="11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180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متوقع تحقيق </a:t>
            </a: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ذلك</a:t>
            </a:r>
            <a:endParaRPr lang="en-US" sz="16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180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حلول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3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30</a:t>
            </a:r>
            <a:r>
              <a:rPr lang="ar-EG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/ بحلول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5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35</a:t>
            </a:r>
            <a:endParaRPr lang="en-US" sz="11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180000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endParaRPr lang="en-US" sz="1600" dirty="0" smtClean="0">
              <a:solidFill>
                <a:srgbClr val="FF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180000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</a:t>
            </a: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يد</a:t>
            </a:r>
            <a:r>
              <a:rPr lang="ar-EG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</a:t>
            </a: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100" dirty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.10.8</a:t>
            </a:r>
            <a:r>
              <a:rPr lang="ar-EG" sz="1600" dirty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ن أهداف التنمية المستدامة: نسبة البالغين الذين يملكون حساباً لدى مصرف أو مؤسسة مالية أخرى أو </a:t>
            </a:r>
            <a:r>
              <a:rPr lang="ar-EG" sz="1600" b="1" dirty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قدم خدمة مالية </a:t>
            </a:r>
            <a:r>
              <a:rPr lang="ar-EG" sz="1600" b="1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تنقلة</a:t>
            </a:r>
            <a:endParaRPr lang="en-US" sz="1600" b="1" dirty="0" smtClean="0">
              <a:solidFill>
                <a:srgbClr val="548235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180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حلول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5/2023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ستستعمل نسبة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x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ن السكان المعاملات المصرفية 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إلكترونية/المتنقلة</a:t>
            </a:r>
            <a:endParaRPr lang="en-US" sz="1600" dirty="0" smtClean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180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endParaRPr lang="en-US" sz="1600" dirty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indent="-180000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1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A.3.2</a:t>
            </a:r>
            <a:r>
              <a:rPr lang="ar-SY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نبغي خفض الفجوة المتعلقة بالقدرة على تحمل الأسعار بين البلدان المتقدمة والبلدان النامية </a:t>
            </a:r>
            <a:r>
              <a:rPr lang="ar-SY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نسبة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40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Y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حلول 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endParaRPr lang="en-US" sz="1100" dirty="0" smtClean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180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حلول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5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، ستُخفض هذه النسبة بنسبة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30</a:t>
            </a:r>
            <a:r>
              <a:rPr lang="ar-EG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خرى</a:t>
            </a:r>
            <a:endParaRPr lang="en-US" sz="1600" dirty="0" smtClean="0">
              <a:ea typeface="Calibri"/>
              <a:cs typeface="Traditional Arabic" panose="02020603050405020304" pitchFamily="18" charset="-78"/>
              <a:sym typeface="Calibri"/>
            </a:endParaRP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107504" y="1014953"/>
            <a:ext cx="4788512" cy="5744635"/>
          </a:xfrm>
          <a:prstGeom prst="rect">
            <a:avLst/>
          </a:prstGeom>
        </p:spPr>
        <p:txBody>
          <a:bodyPr vert="horz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0" indent="-343693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1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B.3.2</a:t>
            </a:r>
            <a:r>
              <a:rPr lang="ar-SY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نبغي ألا تزيد تكاليف خدمات النطاق العريض عن 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en-US" sz="1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GB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5</a:t>
            </a:r>
            <a:r>
              <a:rPr lang="ar-SY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ن </a:t>
            </a:r>
            <a:r>
              <a:rPr lang="ar-SY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توسط الدخل الشهري في البلدان النامية بحلول </a:t>
            </a:r>
            <a:r>
              <a:rPr lang="en-GB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endParaRPr lang="en-US" sz="1100" dirty="0" smtClean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720000" lvl="1" indent="-252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حقق ذلك في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20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لداً</a:t>
            </a:r>
            <a:endParaRPr lang="en-US" sz="1600" dirty="0" smtClean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720000" lvl="1" indent="-252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حلول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3</a:t>
            </a:r>
            <a:r>
              <a:rPr lang="ar-SA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3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</a:t>
            </a:r>
            <a:r>
              <a:rPr lang="ar-EG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و 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حلول 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5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2,5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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 </a:t>
            </a:r>
            <a:r>
              <a:rPr lang="en-US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دخل القومي الإجمالي للفرد </a:t>
            </a:r>
            <a:endParaRPr lang="en-US" sz="1600" dirty="0" smtClean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720000" lvl="1" indent="-252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endParaRPr lang="en-US" sz="1100" dirty="0" smtClean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SY" sz="1600" b="1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100" b="1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4.2</a:t>
            </a:r>
            <a:r>
              <a:rPr lang="ar-SY" sz="1600" b="1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EG" sz="16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في جميع أنحاء العالم، ينبغي أن تغطي خدمات النطاق العريض </a:t>
            </a:r>
            <a:r>
              <a:rPr lang="ar-EG" sz="16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نسبة </a:t>
            </a:r>
            <a:r>
              <a:rPr lang="en-US" sz="12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GB" sz="11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90</a:t>
            </a:r>
            <a:r>
              <a:rPr lang="ar-EG" sz="16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ن </a:t>
            </a:r>
            <a:r>
              <a:rPr lang="ar-EG" sz="16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سكان المناطق الريفية </a:t>
            </a:r>
            <a:r>
              <a:rPr lang="ar-EG" sz="16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حلول </a:t>
            </a:r>
            <a:r>
              <a:rPr lang="en-US" sz="11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r>
              <a:rPr lang="ar-EG" sz="16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1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</a:t>
            </a:r>
            <a:r>
              <a:rPr lang="ar-EG" sz="16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spc="-2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</a:t>
            </a:r>
            <a:r>
              <a:rPr lang="en-US" sz="1100" spc="-2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9</a:t>
            </a:r>
            <a:r>
              <a:rPr lang="ar-EG" sz="1600" spc="-2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.ج.</a:t>
            </a:r>
            <a:r>
              <a:rPr lang="en-US" sz="1100" spc="-2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</a:t>
            </a:r>
            <a:r>
              <a:rPr lang="ar-EG" sz="1600" spc="-2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spc="-20" dirty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أهداف التنمية المستدامة، نسبة السكان المشمولين بشبكة متنقلة، بحسب </a:t>
            </a:r>
            <a:r>
              <a:rPr lang="ar-EG" sz="1600" spc="-2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كنولوجيا</a:t>
            </a:r>
            <a:endParaRPr lang="en-US" sz="1600" spc="-20" dirty="0">
              <a:solidFill>
                <a:srgbClr val="548235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720000" lvl="1" indent="-252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غطية المناطق الريفية بنسبة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67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في </a:t>
            </a:r>
            <a:r>
              <a:rPr lang="en-US" sz="1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16</a:t>
            </a:r>
            <a:endParaRPr lang="en-US" sz="1100" dirty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720000" lvl="1" indent="-252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b="1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6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جموع التغطية السكانية بحلول </a:t>
            </a:r>
            <a:r>
              <a:rPr lang="en-US" sz="11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3</a:t>
            </a:r>
            <a:r>
              <a:rPr lang="ar-EG" sz="16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- </a:t>
            </a:r>
            <a:r>
              <a:rPr lang="en-US" sz="11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95</a:t>
            </a:r>
            <a:r>
              <a:rPr lang="ar-EG" sz="16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/ بحلول </a:t>
            </a:r>
            <a:r>
              <a:rPr lang="en-US" sz="11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5</a:t>
            </a:r>
            <a:r>
              <a:rPr lang="ar-EG" sz="16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- </a:t>
            </a:r>
            <a:r>
              <a:rPr lang="en-US" sz="1100" spc="-2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%98</a:t>
            </a:r>
            <a:endParaRPr lang="en-US" sz="1100" spc="-2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n-US" sz="1100" dirty="0" smtClean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1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A.5.2</a:t>
            </a:r>
            <a:r>
              <a:rPr lang="ar-SY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600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حقيق المساواة بين الجنسين ضمن مستعملي الإنترنت بحلول </a:t>
            </a:r>
            <a:r>
              <a:rPr lang="en-GB" sz="1100" spc="-3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endParaRPr lang="en-US" sz="1100" spc="-30" dirty="0">
              <a:solidFill>
                <a:srgbClr val="FF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720000" lvl="1" indent="-252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EG" sz="1400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نمو الفجوة بين الجنسين بشكل طفيف عموماً (وإن كان ذلك بمعدل متباطئ</a:t>
            </a:r>
            <a:r>
              <a:rPr lang="ar-EG" sz="1400" spc="-3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400" spc="-3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68000" lvl="1" indent="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None/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</a:t>
            </a: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en-US" sz="1600" b="1" dirty="0" smtClean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720000" lvl="1" indent="-252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spc="-4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حقيق المساواة بين الجنسين في صفوف مستعملي تكنولوجيا المعلومات </a:t>
            </a:r>
            <a:r>
              <a:rPr lang="ar-SA" sz="1600" spc="-4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اتصالات</a:t>
            </a:r>
            <a:endParaRPr lang="en-US" sz="1600" spc="-40" dirty="0" smtClean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720000" lvl="1" indent="-252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spc="-2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اواة بين الجنسين في ملكية الهواتف المحمولة </a:t>
            </a:r>
            <a:r>
              <a:rPr lang="ar-SA" sz="1600" spc="-20" dirty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الهدف </a:t>
            </a:r>
            <a:r>
              <a:rPr lang="en-US" sz="1100" spc="-2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5</a:t>
            </a:r>
            <a:r>
              <a:rPr lang="ar-EG" sz="1600" spc="-2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.ب.</a:t>
            </a:r>
            <a:r>
              <a:rPr lang="en-US" sz="1100" spc="-2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</a:t>
            </a:r>
            <a:r>
              <a:rPr lang="ar-EG" sz="1600" spc="-2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spc="-20" dirty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أهداف التنمية المستدامة: </a:t>
            </a:r>
            <a:r>
              <a:rPr lang="ar-SA" sz="1600" spc="-20" dirty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نسبة الأفراد الذين لديهم هاتف محمول بحسب نوع الجنس</a:t>
            </a:r>
            <a:r>
              <a:rPr lang="ar-SA" sz="1600" spc="-2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600" spc="-20" dirty="0">
              <a:solidFill>
                <a:srgbClr val="548235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n-US" sz="1100" spc="-20" dirty="0" smtClean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100" b="1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B.5.2</a:t>
            </a:r>
            <a:r>
              <a:rPr lang="ar-SY" sz="1600" b="1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600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ستراتيجية من أجل توفير إمكانية النفاذ (</a:t>
            </a:r>
            <a:r>
              <a:rPr lang="en-US" sz="1100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64/48</a:t>
            </a:r>
            <a:r>
              <a:rPr lang="ar-EG" sz="1600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لداً، بيانات </a:t>
            </a:r>
            <a:r>
              <a:rPr lang="en-US" sz="1100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16</a:t>
            </a:r>
            <a:r>
              <a:rPr lang="ar-EG" sz="1600" spc="-3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600" spc="-30" dirty="0" smtClean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720000" lvl="1" indent="-252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</a:t>
            </a: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إبقاء على المقصد بالنسبة لجميع 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بلدان</a:t>
            </a:r>
            <a:endParaRPr lang="en-US" sz="1600" dirty="0" smtClean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just" rtl="1">
              <a:lnSpc>
                <a:spcPct val="80000"/>
              </a:lnSpc>
              <a:spcBef>
                <a:spcPts val="400"/>
              </a:spcBef>
              <a:buClr>
                <a:srgbClr val="FF0000"/>
              </a:buClr>
              <a:buSzPct val="100694"/>
              <a:buFont typeface="Calibri"/>
              <a:buChar char="●"/>
            </a:pPr>
            <a:endParaRPr lang="en-US" sz="1100" dirty="0" smtClean="0">
              <a:solidFill>
                <a:srgbClr val="FF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indent="-343693" algn="just" rtl="1">
              <a:lnSpc>
                <a:spcPct val="80000"/>
              </a:lnSpc>
              <a:spcBef>
                <a:spcPts val="4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1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C.5.2</a:t>
            </a:r>
            <a:r>
              <a:rPr lang="ar-SY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en-US" sz="1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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 </a:t>
            </a:r>
            <a:r>
              <a:rPr lang="ar-SY" sz="160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</a:t>
            </a:r>
            <a:r>
              <a:rPr lang="en-US" sz="110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.4.4</a:t>
            </a:r>
            <a:r>
              <a:rPr lang="ar-EG" sz="160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dirty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أهداف التنمية المستدامة (مهارات الشباب/البالغين في مجال تكنولوجيا المعلومات والاتصالات، بحسب نوع المهارة</a:t>
            </a:r>
            <a:r>
              <a:rPr lang="ar-EG" sz="1600" dirty="0" smtClean="0">
                <a:solidFill>
                  <a:srgbClr val="548235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600" dirty="0">
              <a:solidFill>
                <a:srgbClr val="548235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720000" lvl="1" indent="-252000" algn="just" rtl="1">
              <a:lnSpc>
                <a:spcPct val="80000"/>
              </a:lnSpc>
              <a:spcBef>
                <a:spcPts val="4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تحسين النسبة من حيث مهارات تكنولوجيا المعلومات والاتصالات (</a:t>
            </a:r>
            <a:r>
              <a:rPr lang="ar-EG" sz="1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ييز بين البلدان المتقدمة/النامية</a:t>
            </a:r>
            <a:r>
              <a:rPr lang="ar-EG" sz="16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6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34836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592" y="228600"/>
            <a:ext cx="7612058" cy="573886"/>
          </a:xfrm>
        </p:spPr>
        <p:txBody>
          <a:bodyPr>
            <a:noAutofit/>
          </a:bodyPr>
          <a:lstStyle/>
          <a:p>
            <a:pPr algn="r" rtl="1"/>
            <a:r>
              <a:rPr lang="ar-SA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غاية </a:t>
            </a:r>
            <a:r>
              <a:rPr lang="en-US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3</a:t>
            </a:r>
            <a:r>
              <a:rPr lang="ar-EG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استدامة)، </a:t>
            </a:r>
            <a:r>
              <a:rPr lang="en-US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4</a:t>
            </a:r>
            <a:r>
              <a:rPr lang="ar-EG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ابتكار</a:t>
            </a:r>
            <a:r>
              <a:rPr lang="ar-EG" sz="4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 </a:t>
            </a:r>
            <a:r>
              <a:rPr lang="ar-SA" sz="4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</a:t>
            </a:r>
            <a:r>
              <a:rPr lang="en-US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5</a:t>
            </a:r>
            <a:r>
              <a:rPr lang="ar-EG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شراكة)</a:t>
            </a:r>
            <a:endParaRPr lang="en-US" sz="40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5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0" y="1094023"/>
            <a:ext cx="4176464" cy="5832648"/>
          </a:xfrm>
        </p:spPr>
        <p:txBody>
          <a:bodyPr>
            <a:noAutofit/>
          </a:bodyPr>
          <a:lstStyle/>
          <a:p>
            <a:pPr marL="457200" lvl="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200" b="1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1.3</a:t>
            </a:r>
            <a:r>
              <a:rPr lang="ar-SY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r>
              <a:rPr lang="ar-SY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ينبغي تحسين </a:t>
            </a:r>
            <a:r>
              <a:rPr lang="ar-EG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أهب</a:t>
            </a:r>
            <a:r>
              <a:rPr lang="ar-SY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في مجال الأمن </a:t>
            </a:r>
            <a:r>
              <a:rPr lang="ar-SY" sz="1600" dirty="0" err="1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سيبراني</a:t>
            </a:r>
            <a:r>
              <a:rPr lang="ar-SY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بنسبة </a:t>
            </a:r>
            <a:r>
              <a:rPr lang="en-US" sz="1200" dirty="0" smtClean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US" sz="12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40</a:t>
            </a:r>
            <a:r>
              <a:rPr lang="ar-EG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Y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حلول </a:t>
            </a:r>
            <a:r>
              <a:rPr lang="en-GB" sz="12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endParaRPr lang="en-US" sz="1200" dirty="0"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تحسين تأهب البلدان في مجال الأمن </a:t>
            </a:r>
            <a:r>
              <a:rPr lang="ar-SA" sz="1600" dirty="0" err="1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سيبراني</a:t>
            </a: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(من خلال القدرات الأساسية المتمثلة في: وجود استراتيجية وأفرقة للاستجابة للحوادث/الطوارئ الحاسوبية وتشريعات</a:t>
            </a:r>
            <a:r>
              <a:rPr lang="ar-SA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600" dirty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n-US" sz="1600" dirty="0" smtClean="0">
              <a:solidFill>
                <a:srgbClr val="000000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200" b="1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2.3</a:t>
            </a:r>
            <a:r>
              <a:rPr lang="ar-SY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ينبغي خفض كمية مخلفات المعدات الإلكترونية الزائدة عن الحاجة </a:t>
            </a:r>
            <a:r>
              <a:rPr lang="ar-SY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نسبة</a:t>
            </a:r>
            <a:r>
              <a:rPr lang="ar-EG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200" dirty="0" smtClean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GB" sz="12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50</a:t>
            </a:r>
            <a:r>
              <a:rPr lang="ar-EG" sz="16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Y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حلول </a:t>
            </a:r>
            <a:r>
              <a:rPr lang="en-GB" sz="12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endParaRPr lang="en-US" sz="12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570707" lvl="1" indent="0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None/>
            </a:pPr>
            <a:r>
              <a:rPr lang="ar-SA" sz="1600" b="1" dirty="0">
                <a:solidFill>
                  <a:prstClr val="black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600" dirty="0">
                <a:solidFill>
                  <a:prstClr val="black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endParaRPr lang="en-US" sz="1600" dirty="0" smtClean="0">
              <a:solidFill>
                <a:srgbClr val="000000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زيادة المعدل العالمي لإعادة تدوير المخلفات الإلكترونية إلى نسبة </a:t>
            </a:r>
            <a:r>
              <a:rPr lang="en-US" sz="12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%x</a:t>
            </a:r>
            <a:r>
              <a:rPr lang="en-US" sz="16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endParaRPr lang="en-US" sz="1600" dirty="0" smtClean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زيادة عدد البلدان التي وضعت تشريعات بشأن المخلفات الإلكترونية إلى </a:t>
            </a:r>
            <a:r>
              <a:rPr lang="en-US" sz="12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x</a:t>
            </a:r>
            <a:endParaRPr lang="en-US" sz="12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n-US" sz="1600" dirty="0" smtClean="0">
              <a:solidFill>
                <a:srgbClr val="000000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200" b="1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3.3</a:t>
            </a:r>
            <a:r>
              <a:rPr lang="ar-SY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خفض انبعاثات غازات الاحتباس الحراري بنسبة </a:t>
            </a:r>
            <a:r>
              <a:rPr lang="en-US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%</a:t>
            </a:r>
            <a:r>
              <a:rPr lang="en-GB" sz="12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30</a:t>
            </a:r>
            <a:r>
              <a:rPr lang="ar-SY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 </a:t>
            </a:r>
            <a:r>
              <a:rPr lang="ar-EG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في المائة </a:t>
            </a:r>
            <a:r>
              <a:rPr lang="ar-SY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لكل جهاز بحلول </a:t>
            </a:r>
            <a:r>
              <a:rPr lang="en-GB" sz="12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2020 </a:t>
            </a:r>
            <a:endParaRPr lang="en-US" sz="12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570707" lvl="1" indent="0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None/>
            </a:pPr>
            <a:r>
              <a:rPr lang="ar-SA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خيارات </a:t>
            </a:r>
            <a:r>
              <a:rPr lang="ar-EG" sz="16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en-US" sz="1600" b="1" dirty="0" smtClean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Wingdings" panose="05000000000000000000" pitchFamily="2" charset="2"/>
            </a:endParaRPr>
          </a:p>
          <a:p>
            <a:pPr marL="914400" lvl="1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ربط باتفاق باريس / يساهم قطاع تكنولوجيا المعلومات والاتصالات بصورة متناسبة في المساهمات المعتزمة المحددة وطنياً</a:t>
            </a:r>
            <a:r>
              <a:rPr lang="ar-SA" sz="16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2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(INDC</a:t>
            </a:r>
            <a:r>
              <a:rPr lang="en-US" sz="12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200" dirty="0">
              <a:solidFill>
                <a:srgbClr val="000000"/>
              </a:solidFill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ينبغي أن تستخدم البنية التحتية للاتصالات/تكنولوجيا المعلومات والاتصالات طاقة "أنظف" </a:t>
            </a:r>
            <a:endParaRPr lang="en-US" sz="1600" dirty="0">
              <a:solidFill>
                <a:srgbClr val="000000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123253" y="1094023"/>
            <a:ext cx="4608512" cy="5904656"/>
          </a:xfrm>
          <a:prstGeom prst="rect">
            <a:avLst/>
          </a:prstGeom>
        </p:spPr>
        <p:txBody>
          <a:bodyPr vert="horz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200" b="1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4.3</a:t>
            </a:r>
            <a:r>
              <a:rPr lang="ar-SY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الجديد:</a:t>
            </a:r>
            <a:r>
              <a:rPr lang="ar-SY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400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</a:t>
            </a:r>
            <a:r>
              <a:rPr lang="ar-SY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Y" sz="1600" dirty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</a:t>
            </a:r>
            <a:r>
              <a:rPr lang="en-US" sz="1200" dirty="0">
                <a:solidFill>
                  <a:srgbClr val="548235"/>
                </a:solidFill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2.B.11</a:t>
            </a:r>
            <a:r>
              <a:rPr lang="ar-EG" sz="1600" dirty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من أهداف التنمية المستدامة: عدد البلدان التي لديها استراتيجيات وطنية ومحلية للحد من مخاطر الكوارث </a:t>
            </a:r>
            <a:endParaRPr lang="en-US" sz="1600" dirty="0" smtClean="0">
              <a:solidFill>
                <a:srgbClr val="548235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570707" lvl="1" indent="0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None/>
            </a:pPr>
            <a:r>
              <a:rPr lang="ar-SA" sz="1600" b="1" dirty="0">
                <a:solidFill>
                  <a:prstClr val="black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</a:t>
            </a:r>
            <a:r>
              <a:rPr lang="ar-SA" sz="1600" dirty="0">
                <a:solidFill>
                  <a:prstClr val="black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endParaRPr lang="en-US" sz="1600" dirty="0">
              <a:solidFill>
                <a:srgbClr val="000000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1188720" lvl="2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زيادة عدد البلدان التي لديها خطة وطنية للاتصالات </a:t>
            </a:r>
            <a:r>
              <a:rPr lang="ar-EG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في </a:t>
            </a: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حالات </a:t>
            </a:r>
            <a:r>
              <a:rPr lang="ar-SA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طوارئ</a:t>
            </a:r>
            <a:endParaRPr lang="en-US" sz="1600" dirty="0" smtClean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1188720" lvl="2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زيادة عدد البلدان التي لديها أنظمة للإنذار المبكر بمخاطر متعددة (مؤشر إطار سنداي </a:t>
            </a:r>
            <a:r>
              <a:rPr lang="en-US" sz="1200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G1</a:t>
            </a:r>
            <a:r>
              <a:rPr lang="ar-EG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600" dirty="0" smtClean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1188720" lvl="2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ar-SA" sz="1600" spc="-4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زيادة عدد البلدان التي نفذت بروتوكول الإنذار </a:t>
            </a:r>
            <a:r>
              <a:rPr lang="ar-SA" sz="1600" spc="-4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وحد</a:t>
            </a:r>
            <a:r>
              <a:rPr lang="ar-EG" sz="1600" spc="-4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200" spc="-40" dirty="0" smtClean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(CAP)</a:t>
            </a:r>
            <a:endParaRPr lang="en-US" sz="1200" spc="-40" dirty="0">
              <a:latin typeface="+mj-lt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ar-EG" sz="160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457200" lvl="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EG" sz="16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GB" sz="1200" b="1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1.4</a:t>
            </a:r>
            <a:r>
              <a:rPr lang="ar-SY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يئة تكنولوجيا المعلومات والاتصالات تساعد على </a:t>
            </a:r>
            <a:r>
              <a:rPr lang="ar-SY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ابتكار</a:t>
            </a:r>
            <a:endParaRPr lang="en-US" sz="1600" dirty="0">
              <a:solidFill>
                <a:srgbClr val="000000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570707" lvl="1" indent="0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None/>
            </a:pPr>
            <a:r>
              <a:rPr lang="ar-SA" sz="16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خيارات</a:t>
            </a:r>
            <a:r>
              <a:rPr lang="ar-EG" sz="16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en-US" sz="1600" b="1" dirty="0" smtClean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1188720" lvl="2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ينبغي أن يكون لجميع البلدان سياسة/استراتيجية للابتكار مع التركيز على الشركات الصغيرة والمتوسطة العاملة </a:t>
            </a:r>
            <a:r>
              <a:rPr lang="ar-EG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في </a:t>
            </a: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جال </a:t>
            </a:r>
            <a:r>
              <a:rPr lang="ar-SA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كنولوجيا</a:t>
            </a:r>
            <a:endParaRPr lang="en-US" sz="1600" dirty="0" smtClean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1188720" lvl="2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ينبغي لجميع البلدان أن تعزز مراكز </a:t>
            </a:r>
            <a:r>
              <a:rPr lang="ar-SA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ابتكار</a:t>
            </a:r>
            <a:endParaRPr lang="en-US" sz="1600" dirty="0" smtClean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ar-EG" sz="160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457200" lvl="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SA" sz="16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US" sz="1200" b="1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2.4</a:t>
            </a:r>
            <a:r>
              <a:rPr lang="ar-SA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6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يد</a:t>
            </a:r>
            <a:r>
              <a:rPr lang="en-US" sz="1400" dirty="0" smtClean="0"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</a:t>
            </a:r>
            <a:r>
              <a:rPr lang="en-US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600" dirty="0" smtClean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</a:t>
            </a:r>
            <a:r>
              <a:rPr lang="en-US" sz="1200" dirty="0">
                <a:solidFill>
                  <a:srgbClr val="548235"/>
                </a:solidFill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1.B.9</a:t>
            </a:r>
            <a:r>
              <a:rPr lang="ar-EG" sz="1600" dirty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من أهداف التنمية المستدامة: نسبة القيمة المضافة للصناعة المتوسطة والعالية في إجمالي القيمة </a:t>
            </a:r>
            <a:r>
              <a:rPr lang="ar-EG" sz="1600" dirty="0" smtClean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ضافة</a:t>
            </a:r>
            <a:endParaRPr lang="en-US" sz="1600" dirty="0">
              <a:solidFill>
                <a:srgbClr val="548235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 نسبة </a:t>
            </a:r>
            <a:r>
              <a:rPr lang="en-US" sz="1200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%x</a:t>
            </a:r>
            <a:r>
              <a:rPr lang="ar-EG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من الوظائف في قطاع تكنولوجيا المعلومات والاتصالات (رجال/نساء</a:t>
            </a:r>
            <a:r>
              <a:rPr lang="ar-EG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600" dirty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457200" lvl="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ar-EG" sz="1600" b="1" spc="-1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457200" lvl="0" indent="-343693" algn="r" rtl="1">
              <a:lnSpc>
                <a:spcPct val="80000"/>
              </a:lnSpc>
              <a:spcBef>
                <a:spcPts val="20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ar-SA" sz="1600" b="1" spc="-1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صد </a:t>
            </a:r>
            <a:r>
              <a:rPr lang="en-US" sz="1200" b="1" spc="-10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1.5</a:t>
            </a:r>
            <a:r>
              <a:rPr lang="ar-SA" sz="1600" b="1" spc="-1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الجديد</a:t>
            </a:r>
            <a:r>
              <a:rPr lang="ar-EG" sz="1600" b="1" spc="-1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A" sz="1600" spc="-1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(شراكات فعالة لأصحاب المصلحة </a:t>
            </a:r>
            <a:r>
              <a:rPr lang="ar-SA" sz="1600" spc="-1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في </a:t>
            </a:r>
            <a:r>
              <a:rPr lang="ar-SA" sz="1600" spc="-1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يئة تكنولوجيا المعلومات والاتصالات</a:t>
            </a:r>
            <a:r>
              <a:rPr lang="ar-SA" sz="1600" spc="-1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r>
              <a:rPr lang="ar-EG" sz="1600" spc="-1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1400" spc="-10" dirty="0" smtClean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</a:t>
            </a:r>
            <a:r>
              <a:rPr lang="en-US" sz="1600" spc="-1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600" spc="-1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600" spc="-10" dirty="0" smtClean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</a:t>
            </a:r>
            <a:r>
              <a:rPr lang="en-US" sz="1200" spc="-10" dirty="0">
                <a:solidFill>
                  <a:srgbClr val="548235"/>
                </a:solidFill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1.6.17</a:t>
            </a:r>
            <a:r>
              <a:rPr lang="ar-EG" sz="1600" spc="-10" dirty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من أهداف التنمية المستدامة بشأن عدد اتفاقات التعاون </a:t>
            </a:r>
            <a:r>
              <a:rPr lang="ar-EG" sz="1600" dirty="0" smtClean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600" dirty="0" smtClean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1600" dirty="0" smtClean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في </a:t>
            </a:r>
            <a:r>
              <a:rPr lang="ar-EG" sz="1600" dirty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جال العلوم و/أو </a:t>
            </a:r>
            <a:r>
              <a:rPr lang="ar-EG" sz="1600" dirty="0" smtClean="0">
                <a:solidFill>
                  <a:srgbClr val="54823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كنولوجيا</a:t>
            </a:r>
            <a:endParaRPr lang="en-US" sz="1600" dirty="0" smtClean="0">
              <a:solidFill>
                <a:srgbClr val="548235"/>
              </a:solidFill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  <a:p>
            <a:pPr marL="914400" lvl="1" indent="-343693" algn="r" rtl="1">
              <a:lnSpc>
                <a:spcPct val="80000"/>
              </a:lnSpc>
              <a:spcBef>
                <a:spcPts val="20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ar-SA" sz="16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: </a:t>
            </a:r>
            <a:r>
              <a:rPr lang="ar-SA" sz="16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زيادة برامج التنمية/التمويل المتصلة بتكنولوجيا المعلومات </a:t>
            </a:r>
            <a:r>
              <a:rPr lang="ar-SA" sz="16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الاتصالات</a:t>
            </a:r>
            <a:endParaRPr lang="en-US" sz="1600" dirty="0">
              <a:latin typeface="Traditional Arabic" panose="02020603050405020304" pitchFamily="18" charset="-78"/>
              <a:ea typeface="Calibri"/>
              <a:cs typeface="Traditional Arabic" panose="02020603050405020304" pitchFamily="18" charset="-78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67279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خاطر الاستراتيجية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006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90542" y="228600"/>
            <a:ext cx="7612058" cy="573886"/>
          </a:xfrm>
        </p:spPr>
        <p:txBody>
          <a:bodyPr>
            <a:noAutofit/>
          </a:bodyPr>
          <a:lstStyle/>
          <a:p>
            <a:pPr algn="r" rtl="1"/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محة عامة عن المخاطر الاستراتيجية</a:t>
            </a: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7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437534" y="1550665"/>
            <a:ext cx="4096866" cy="1069899"/>
          </a:xfrm>
          <a:prstGeom prst="rect">
            <a:avLst/>
          </a:pr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/>
            <a:r>
              <a:rPr lang="ar-SA" sz="2400" b="0" dirty="0">
                <a:solidFill>
                  <a:srgbClr val="C00000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خطر </a:t>
            </a:r>
            <a:r>
              <a:rPr lang="en-US" sz="2000" b="0" dirty="0" smtClean="0">
                <a:solidFill>
                  <a:srgbClr val="C00000"/>
                </a:solidFill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1</a:t>
            </a:r>
            <a:endParaRPr lang="en-US" sz="2000" b="0" cap="small" dirty="0" smtClean="0">
              <a:solidFill>
                <a:srgbClr val="C00000"/>
              </a:solidFill>
              <a:latin typeface="+mj-lt"/>
              <a:cs typeface="Traditional Arabic" panose="02020603050405020304" pitchFamily="18" charset="-78"/>
            </a:endParaRPr>
          </a:p>
          <a:p>
            <a:pPr marL="180000" indent="-180000" algn="r" rtl="1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تناقص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أهمية والقدرة على إثبات تقديم قيمة مضافة 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اضحة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27984" y="3515908"/>
            <a:ext cx="4106416" cy="746734"/>
          </a:xfrm>
          <a:prstGeom prst="rect">
            <a:avLst/>
          </a:pr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/>
            <a:r>
              <a:rPr lang="ar-EG" sz="2400" b="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خطر </a:t>
            </a:r>
            <a:r>
              <a:rPr lang="en-US" sz="2000" b="0" cap="small" dirty="0" smtClean="0">
                <a:solidFill>
                  <a:srgbClr val="C00000"/>
                </a:solidFill>
                <a:latin typeface="+mj-lt"/>
                <a:cs typeface="Traditional Arabic" panose="02020603050405020304" pitchFamily="18" charset="-78"/>
              </a:rPr>
              <a:t>2</a:t>
            </a:r>
            <a:endParaRPr lang="en-US" sz="2000" b="0" cap="small" dirty="0">
              <a:solidFill>
                <a:srgbClr val="C00000"/>
              </a:solidFill>
              <a:latin typeface="+mj-lt"/>
              <a:cs typeface="Traditional Arabic" panose="02020603050405020304" pitchFamily="18" charset="-78"/>
            </a:endParaRPr>
          </a:p>
          <a:p>
            <a:pPr marL="180000" indent="-180000" algn="r" rtl="1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تشتت الجهود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437534" y="4816355"/>
            <a:ext cx="4106416" cy="1069899"/>
          </a:xfrm>
          <a:prstGeom prst="rect">
            <a:avLst/>
          </a:pr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/>
            <a:r>
              <a:rPr lang="ar-EG" sz="2400" b="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خطر </a:t>
            </a:r>
            <a:r>
              <a:rPr lang="en-US" sz="2000" b="0" cap="small" dirty="0" smtClean="0">
                <a:solidFill>
                  <a:srgbClr val="C00000"/>
                </a:solidFill>
                <a:cs typeface="Traditional Arabic" panose="02020603050405020304" pitchFamily="18" charset="-78"/>
              </a:rPr>
              <a:t>3</a:t>
            </a:r>
          </a:p>
          <a:p>
            <a:pPr marL="180000" indent="-180000" algn="r" rtl="1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عدم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جابة بسرعة للاحتياجات الناشئة والابتكار 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3528" y="4483956"/>
            <a:ext cx="3888432" cy="106989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/>
            <a:r>
              <a:rPr lang="ar-EG" sz="2400" b="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خطر </a:t>
            </a:r>
            <a:r>
              <a:rPr lang="en-US" sz="2000" b="0" cap="small" dirty="0" smtClean="0">
                <a:solidFill>
                  <a:srgbClr val="C00000"/>
                </a:solidFill>
                <a:cs typeface="Traditional Arabic" panose="02020603050405020304" pitchFamily="18" charset="-78"/>
              </a:rPr>
              <a:t>6</a:t>
            </a:r>
            <a:endParaRPr lang="en-US" sz="2000" b="0" cap="small" dirty="0">
              <a:solidFill>
                <a:srgbClr val="C00000"/>
              </a:solidFill>
              <a:cs typeface="Traditional Arabic" panose="02020603050405020304" pitchFamily="18" charset="-78"/>
            </a:endParaRPr>
          </a:p>
          <a:p>
            <a:pPr marL="180000" indent="-180000" algn="r" rtl="1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عدم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كفاية التمويل (دعم غير كافٍ من حيث التمويل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2400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3528" y="2817551"/>
            <a:ext cx="3888432" cy="147554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/>
            <a:r>
              <a:rPr lang="ar-EG" sz="2400" b="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خطر </a:t>
            </a:r>
            <a:r>
              <a:rPr lang="en-US" sz="2000" b="0" cap="small" dirty="0" smtClean="0">
                <a:solidFill>
                  <a:srgbClr val="C00000"/>
                </a:solidFill>
                <a:cs typeface="Traditional Arabic" panose="02020603050405020304" pitchFamily="18" charset="-78"/>
              </a:rPr>
              <a:t>5</a:t>
            </a:r>
          </a:p>
          <a:p>
            <a:pPr marL="180000" indent="-180000" algn="r" rtl="1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هياكل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أدوات ومنهجية وعمليات داخلية غير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كافية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7745" y="1556792"/>
            <a:ext cx="3888432" cy="7467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/>
            <a:r>
              <a:rPr lang="ar-EG" sz="2400" b="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خطر </a:t>
            </a:r>
            <a:r>
              <a:rPr lang="en-US" sz="2000" b="0" cap="small" dirty="0" smtClean="0">
                <a:solidFill>
                  <a:srgbClr val="C00000"/>
                </a:solidFill>
                <a:cs typeface="Traditional Arabic" panose="02020603050405020304" pitchFamily="18" charset="-78"/>
              </a:rPr>
              <a:t>4</a:t>
            </a:r>
            <a:endParaRPr lang="en-US" sz="2000" b="0" cap="small" dirty="0">
              <a:solidFill>
                <a:srgbClr val="C00000"/>
              </a:solidFill>
              <a:cs typeface="Traditional Arabic" panose="02020603050405020304" pitchFamily="18" charset="-78"/>
            </a:endParaRPr>
          </a:p>
          <a:p>
            <a:pPr marL="180000" indent="-180000" algn="r" rtl="1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خاوف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تصلة بالثقة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الطمأنينة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36016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خطر الاستراتيجي </a:t>
            </a:r>
            <a: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</a:t>
            </a:r>
            <a:endParaRPr lang="en-US" sz="4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8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79512" y="1196752"/>
            <a:ext cx="8352928" cy="462779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20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خطر</a:t>
            </a:r>
            <a:endParaRPr lang="en-US" sz="2200" cap="small" dirty="0" smtClean="0">
              <a:solidFill>
                <a:srgbClr val="C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180000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تناقص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أهمية والقدرة على إثبات تقديم قيمة مضافة 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اضحة</a:t>
            </a:r>
            <a:endParaRPr lang="en-US" sz="22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360000" lvl="1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خطر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زدواجية الجهود وعدم الاتساق </a:t>
            </a:r>
            <a:r>
              <a:rPr lang="ar-SA" sz="24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داخل المنظمة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مما يؤثر على قدرتنا على إثبات تقديم 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قيمة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ضافة </a:t>
            </a:r>
            <a:endParaRPr lang="en-US" sz="22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360000" lvl="1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خطر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ضارب الجهود وعدم الاتساق والمنافسة </a:t>
            </a:r>
            <a:r>
              <a:rPr lang="ar-EG" sz="24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ع المنظمات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والهيئات </a:t>
            </a:r>
            <a:r>
              <a:rPr lang="ar-EG" sz="24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أخرى ذات الصلة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ما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يؤدي إلى خطر التصور الخاطئ لولاية 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حاد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رسالته 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دوره</a:t>
            </a:r>
            <a:endParaRPr lang="en-US" sz="22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endParaRPr lang="en-US" sz="2200" b="0" cap="small" dirty="0" smtClean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200" cap="small" dirty="0" smtClean="0">
                <a:solidFill>
                  <a:schemeClr val="accent6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ستراتيجية التخفيف</a:t>
            </a:r>
          </a:p>
          <a:p>
            <a:pPr marL="342900" indent="-342900" algn="r" rtl="1">
              <a:lnSpc>
                <a:spcPct val="80000"/>
              </a:lnSpc>
              <a:spcBef>
                <a:spcPts val="600"/>
              </a:spcBef>
              <a:buFontTx/>
              <a:buChar char="-"/>
            </a:pPr>
            <a:r>
              <a:rPr lang="ar-SA" sz="2400" b="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فادي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خاطر: من خلال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لايات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واضحة لكل هيكل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دور في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حاد</a:t>
            </a:r>
            <a:endParaRPr lang="ar-EG" sz="240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342900" indent="-342900" algn="r" rtl="1">
              <a:lnSpc>
                <a:spcPct val="80000"/>
              </a:lnSpc>
              <a:spcBef>
                <a:spcPts val="600"/>
              </a:spcBef>
              <a:buFontTx/>
              <a:buChar char="-"/>
            </a:pP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من المخاطر: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حسين إطار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عاون</a:t>
            </a:r>
            <a:endParaRPr lang="ar-EG" sz="240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342900" indent="-342900" algn="r" rtl="1">
              <a:lnSpc>
                <a:spcPct val="80000"/>
              </a:lnSpc>
              <a:spcBef>
                <a:spcPts val="600"/>
              </a:spcBef>
              <a:buFontTx/>
              <a:buChar char="-"/>
            </a:pP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فادي المخاطر: </a:t>
            </a:r>
            <a:r>
              <a:rPr lang="ar-SY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حديد المجالات ذات </a:t>
            </a:r>
            <a:r>
              <a:rPr lang="ar-SY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قيمة المضافة الواضحة والتركيز </a:t>
            </a:r>
            <a:r>
              <a:rPr lang="ar-SY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عليها</a:t>
            </a:r>
            <a:endParaRPr lang="ar-EG" sz="240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342900" indent="-342900" algn="r" rtl="1">
              <a:lnSpc>
                <a:spcPct val="80000"/>
              </a:lnSpc>
              <a:spcBef>
                <a:spcPts val="600"/>
              </a:spcBef>
              <a:buFontTx/>
              <a:buChar char="-"/>
            </a:pP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نقل المخاطر: من خلال إقامة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شراكات طويلة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أجل</a:t>
            </a:r>
            <a:endParaRPr lang="ar-EG" sz="240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342900" indent="-342900" algn="r" rtl="1">
              <a:lnSpc>
                <a:spcPct val="80000"/>
              </a:lnSpc>
              <a:spcBef>
                <a:spcPts val="600"/>
              </a:spcBef>
              <a:buFontTx/>
              <a:buChar char="-"/>
            </a:pP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من المخاطر: من خلال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ستراتيجية اتصال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لائمة ومتسقة (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داخلية وخارجية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2200" b="0" cap="small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627322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خطر الاستراتيجي </a:t>
            </a:r>
            <a:r>
              <a:rPr lang="en-US" sz="40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9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65584" y="1340768"/>
            <a:ext cx="8066856" cy="302735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خطر</a:t>
            </a: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endParaRPr lang="en-US" sz="1100" cap="small" dirty="0" smtClean="0">
              <a:solidFill>
                <a:srgbClr val="C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180000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 تشتت الجهود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360000" lvl="1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خطر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إضعاف الرسالة والابتعاد عن الولاية الأساسية 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للمنظمة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endParaRPr lang="en-US" sz="2400" b="0" cap="small" dirty="0" smtClean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cap="small" dirty="0" smtClean="0">
                <a:solidFill>
                  <a:schemeClr val="accent6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ستراتيجية التخفيف</a:t>
            </a: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endParaRPr lang="en-US" sz="1100" dirty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فادي المخاطر: من خلال التركيز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على مواطن القوة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لدى الاتحاد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التأسيس عليها</a:t>
            </a:r>
            <a:endParaRPr lang="en-US" sz="2400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- </a:t>
            </a:r>
            <a:r>
              <a:rPr lang="ar-SA" sz="2400" b="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ن المخاطر: من خلال ضمان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تساق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أنشطة الاتحاد/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عدم العمل بمعزل عن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آخرين</a:t>
            </a:r>
            <a:endParaRPr lang="en-US" sz="2400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897170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خطة عمل فريق العمل المعني بالتخطيط الاستراتيجي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629774" y="1987236"/>
            <a:ext cx="1620000" cy="23923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شحذ الأفكار بشأن الإطار الاستراتيجي للاتحاد وربطه بأهداف التنمية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تدامة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حليل استراتيجي/تحليل الحالة وورش العمل الاستراتيجية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داخلية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قرير بشأن المشاورة العامة الأولى ومشاورة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وظفين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ستعراض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اصد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ستعراض المخاطر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راتيجية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والنتائج والنواتج الأولية</a:t>
            </a:r>
            <a:endParaRPr lang="en-US" sz="1200" dirty="0">
              <a:solidFill>
                <a:srgbClr val="44546A"/>
              </a:solidFill>
            </a:endParaRPr>
          </a:p>
          <a:p>
            <a:pPr marL="72000" indent="-72000" algn="r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endParaRPr lang="en-US" sz="1200" dirty="0">
              <a:solidFill>
                <a:srgbClr val="44546A"/>
              </a:solidFill>
            </a:endParaRPr>
          </a:p>
          <a:p>
            <a:pPr marL="180000" lvl="1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endParaRPr lang="en-US" sz="1200" dirty="0">
              <a:solidFill>
                <a:srgbClr val="44546A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629773" y="4623084"/>
            <a:ext cx="1620000" cy="136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إطار الاستراتيجي للاتحاد </a:t>
            </a:r>
            <a:r>
              <a:rPr lang="ar-EG" sz="12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2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12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</a:t>
            </a:r>
            <a:r>
              <a:rPr lang="ar-SA" sz="12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ما في ذلك رؤيته ورسالته </a:t>
            </a:r>
            <a:r>
              <a:rPr lang="ar-EG" sz="12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2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12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قيمه </a:t>
            </a:r>
            <a:r>
              <a:rPr lang="ar-SA" sz="12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غاياته</a:t>
            </a:r>
            <a:r>
              <a:rPr lang="ar-SA" sz="12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ar-EG" sz="1200" b="1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قارير بشأن المشاورة والدراسة الاستقصائية </a:t>
            </a:r>
            <a:r>
              <a:rPr lang="ar-SA" sz="12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لموظفين</a:t>
            </a:r>
            <a:endParaRPr lang="ar-EG" sz="1200" b="1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وثائق </a:t>
            </a:r>
            <a:r>
              <a:rPr lang="ar-SA" sz="12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تعلقة بالاجتماع الثاني لفريق </a:t>
            </a:r>
            <a:r>
              <a:rPr lang="ar-SA" sz="12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مل</a:t>
            </a:r>
            <a:endParaRPr lang="en-US" sz="1200" b="1" dirty="0">
              <a:solidFill>
                <a:srgbClr val="44546A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282948" y="1987238"/>
            <a:ext cx="1347636" cy="23923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دعم فريق العمل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في </a:t>
            </a: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إعداد </a:t>
            </a:r>
            <a:r>
              <a:rPr lang="ar-EG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إجراء ال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اورة </a:t>
            </a:r>
            <a:r>
              <a:rPr lang="ar-EG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امة الثانية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شأن </a:t>
            </a:r>
            <a:r>
              <a:rPr lang="ar-EG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إطار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راتيجي </a:t>
            </a:r>
            <a:r>
              <a:rPr lang="ar-EG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ترح للاتحاد</a:t>
            </a: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واصلة </a:t>
            </a: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عمال التحضيرية الداخلية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l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rgbClr val="44546A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282947" y="4623085"/>
            <a:ext cx="1346827" cy="136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اورة فريق العمل المعني بالخطتين الاستراتيجية والمالية بشأن الإطار الاستراتيجي المقترح للاتحاد</a:t>
            </a:r>
            <a:endParaRPr lang="en-US" sz="1200" b="1" dirty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8562" y="4623085"/>
            <a:ext cx="1572551" cy="136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>
            <a:noAutofit/>
          </a:bodyPr>
          <a:lstStyle/>
          <a:p>
            <a:pPr algn="r" rtl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</a:pPr>
            <a:r>
              <a:rPr lang="ar-SA" sz="12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اريع الوثائق المقدمة إلى الاجتماع الرابع لفريق العمل التابع للمجلس والمعني بالخطتين المالية والاستراتيجية وإلى دورة المجلس لعام </a:t>
            </a:r>
            <a:r>
              <a:rPr lang="en-US" sz="9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18</a:t>
            </a:r>
            <a:endParaRPr lang="en-US" sz="900" b="1" dirty="0">
              <a:solidFill>
                <a:srgbClr val="44546A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38562" y="1987237"/>
            <a:ext cx="1581801" cy="23974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>
            <a:noAutofit/>
          </a:bodyPr>
          <a:lstStyle/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قرير بشأن المشاورة العامة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نهائية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دخلات مقدمة من الأفرقة الاستشارية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لقطاعات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وحيد </a:t>
            </a: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وضع الصيغة النهائية لمشاريع نصوص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ar-EG" sz="1200" dirty="0" smtClean="0">
              <a:solidFill>
                <a:srgbClr val="44546A"/>
              </a:solidFill>
            </a:endParaRPr>
          </a:p>
          <a:p>
            <a:pPr marL="180000" lvl="1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خطة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راتيجية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180000" lvl="1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اريع القرارات</a:t>
            </a:r>
            <a:endParaRPr lang="ar-EG" sz="1200" dirty="0">
              <a:solidFill>
                <a:srgbClr val="44546A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11116" y="1987237"/>
            <a:ext cx="1346825" cy="23974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دعم فريق العمل </a:t>
            </a:r>
            <a:r>
              <a:rPr lang="ar-EG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ابع للمجلس والمعني بالخطتين الاستراتيجية والمالية في إعداد مشاورة مفتوحة بشأن مشروع نص الخطة الاستراتيجية </a:t>
            </a:r>
            <a:br>
              <a:rPr lang="ar-EG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بما في ذلك تحليل الحالة)</a:t>
            </a: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عرض </a:t>
            </a: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قدم المحرز والحصول على تعليقات الأفرقة الاستشارية للقطاعات</a:t>
            </a:r>
            <a:endParaRPr lang="en-US" sz="1200" dirty="0">
              <a:solidFill>
                <a:srgbClr val="44546A"/>
              </a:solidFill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endParaRPr lang="en-US" sz="1200" dirty="0">
              <a:solidFill>
                <a:srgbClr val="44546A"/>
              </a:solidFill>
            </a:endParaRPr>
          </a:p>
        </p:txBody>
      </p:sp>
      <p:sp>
        <p:nvSpPr>
          <p:cNvPr id="14" name="Text Box 9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23812" y="904187"/>
            <a:ext cx="566461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55663" rtl="1" eaLnBrk="0" hangingPunct="0"/>
            <a:r>
              <a:rPr lang="ar-SA" sz="1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خطة عمل فريق العمل المعني بالتخطيط الاستراتيجي التابع للأمانة </a:t>
            </a:r>
            <a:r>
              <a:rPr lang="en-US" sz="10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SP-WG)</a:t>
            </a:r>
            <a:endParaRPr lang="en-US" sz="10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5" name="Text Box 9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554411" y="1767349"/>
            <a:ext cx="689997" cy="190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55663" rtl="1" eaLnBrk="0" hangingPunct="0"/>
            <a:r>
              <a:rPr lang="ar-SA" sz="1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نشطة</a:t>
            </a:r>
            <a:endParaRPr lang="en-US" sz="12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411115" y="4623085"/>
            <a:ext cx="1338347" cy="136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rtl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</a:pPr>
            <a:r>
              <a:rPr lang="ar-SA" sz="12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اورة فريق العمل التابع للمجلس والمعني الخطتين المالية والاستراتيجية بشأن مشروع الخطة الاستراتيجية للاتحاد للفترة </a:t>
            </a:r>
            <a:r>
              <a:rPr lang="en-US" sz="9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3‑2020</a:t>
            </a:r>
            <a:endParaRPr lang="en-US" sz="900" b="1" dirty="0">
              <a:solidFill>
                <a:srgbClr val="44546A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17" name="Text Box 9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043630" y="4438419"/>
            <a:ext cx="1200778" cy="184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55663" rtl="1" eaLnBrk="0" hangingPunct="0"/>
            <a:r>
              <a:rPr lang="ar-SA" sz="1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خرجات الرئيسية</a:t>
            </a:r>
            <a:endParaRPr lang="en-US" sz="12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 flipH="1">
            <a:off x="755576" y="1160800"/>
            <a:ext cx="1908272" cy="540000"/>
            <a:chOff x="-152077" y="0"/>
            <a:chExt cx="2500018" cy="792086"/>
          </a:xfrm>
        </p:grpSpPr>
        <p:sp>
          <p:nvSpPr>
            <p:cNvPr id="19" name="Chevron 18"/>
            <p:cNvSpPr/>
            <p:nvPr/>
          </p:nvSpPr>
          <p:spPr>
            <a:xfrm>
              <a:off x="-152077" y="0"/>
              <a:ext cx="2500018" cy="792086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Chevron 4"/>
            <p:cNvSpPr/>
            <p:nvPr/>
          </p:nvSpPr>
          <p:spPr>
            <a:xfrm>
              <a:off x="130935" y="0"/>
              <a:ext cx="2108286" cy="792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008" tIns="21336" rIns="21336" bIns="21336" numCol="1" spcCol="1270" anchor="ctr" anchorCtr="0">
              <a:noAutofit/>
            </a:bodyPr>
            <a:lstStyle/>
            <a:p>
              <a:pPr lvl="0" algn="ctr" defTabSz="7112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sz="1200" b="1" spc="-3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تحضير للاجتماع الرابع لفريق العمل المعني بالخطتين المالية والاستراتيجية ودورة المجلس لعام </a:t>
              </a:r>
              <a:r>
                <a:rPr lang="en-US" sz="1000" b="1" spc="-3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2018</a:t>
              </a:r>
              <a:endParaRPr lang="en-US" sz="1200" b="1" kern="1200" spc="-30" dirty="0"/>
            </a:p>
          </p:txBody>
        </p:sp>
      </p:grpSp>
      <p:grpSp>
        <p:nvGrpSpPr>
          <p:cNvPr id="21" name="Group 20"/>
          <p:cNvGrpSpPr/>
          <p:nvPr/>
        </p:nvGrpSpPr>
        <p:grpSpPr>
          <a:xfrm flipH="1">
            <a:off x="5076056" y="1160808"/>
            <a:ext cx="1882507" cy="540000"/>
            <a:chOff x="3741182" y="0"/>
            <a:chExt cx="2216566" cy="792086"/>
          </a:xfrm>
        </p:grpSpPr>
        <p:sp>
          <p:nvSpPr>
            <p:cNvPr id="22" name="Chevron 21"/>
            <p:cNvSpPr/>
            <p:nvPr/>
          </p:nvSpPr>
          <p:spPr>
            <a:xfrm>
              <a:off x="3741182" y="0"/>
              <a:ext cx="2216566" cy="792086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Chevron 8"/>
            <p:cNvSpPr/>
            <p:nvPr/>
          </p:nvSpPr>
          <p:spPr>
            <a:xfrm>
              <a:off x="3962523" y="0"/>
              <a:ext cx="1773588" cy="792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008" tIns="21336" rIns="21336" bIns="21336" numCol="1" spcCol="1270" anchor="ctr" anchorCtr="0">
              <a:noAutofit/>
            </a:bodyPr>
            <a:lstStyle/>
            <a:p>
              <a:pPr lvl="0" algn="ctr" defTabSz="7112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sz="12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دعم المشاورة العامة الثانية </a:t>
              </a:r>
              <a:r>
                <a:rPr lang="ar-EG" sz="1200" b="1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/>
              </a:r>
              <a:br>
                <a:rPr lang="ar-EG" sz="1200" b="1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</a:br>
              <a:r>
                <a:rPr lang="ar-SA" sz="1200" b="1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لفريق </a:t>
              </a:r>
              <a:r>
                <a:rPr lang="ar-SA" sz="12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عمل</a:t>
              </a:r>
              <a:endParaRPr lang="en-US" sz="1200" b="1" kern="1200" dirty="0"/>
            </a:p>
          </p:txBody>
        </p:sp>
      </p:grpSp>
      <p:grpSp>
        <p:nvGrpSpPr>
          <p:cNvPr id="24" name="Group 23"/>
          <p:cNvGrpSpPr/>
          <p:nvPr/>
        </p:nvGrpSpPr>
        <p:grpSpPr>
          <a:xfrm flipH="1">
            <a:off x="6670562" y="1160800"/>
            <a:ext cx="1717861" cy="540000"/>
            <a:chOff x="5611786" y="0"/>
            <a:chExt cx="2403884" cy="792086"/>
          </a:xfrm>
        </p:grpSpPr>
        <p:sp>
          <p:nvSpPr>
            <p:cNvPr id="25" name="Chevron 24"/>
            <p:cNvSpPr/>
            <p:nvPr/>
          </p:nvSpPr>
          <p:spPr>
            <a:xfrm>
              <a:off x="5611786" y="0"/>
              <a:ext cx="2403884" cy="792086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Chevron 10"/>
            <p:cNvSpPr/>
            <p:nvPr/>
          </p:nvSpPr>
          <p:spPr>
            <a:xfrm>
              <a:off x="5914077" y="0"/>
              <a:ext cx="1974564" cy="792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008" tIns="21336" rIns="21336" bIns="21336" numCol="1" spcCol="1270" anchor="ctr" anchorCtr="0">
              <a:noAutofit/>
            </a:bodyPr>
            <a:lstStyle/>
            <a:p>
              <a:pPr lvl="0" algn="ctr" defTabSz="7112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sz="12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تحضير للاجتماع الثاني </a:t>
              </a:r>
              <a:r>
                <a:rPr lang="ar-EG" sz="1200" b="1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/>
              </a:r>
              <a:br>
                <a:rPr lang="ar-EG" sz="1200" b="1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</a:br>
              <a:r>
                <a:rPr lang="ar-SA" sz="1200" b="1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لفريق </a:t>
              </a:r>
              <a:r>
                <a:rPr lang="ar-SA" sz="12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عمل</a:t>
              </a:r>
              <a:endParaRPr lang="en-US" sz="1200" b="1" kern="1200" dirty="0"/>
            </a:p>
          </p:txBody>
        </p:sp>
      </p:grpSp>
      <p:sp>
        <p:nvSpPr>
          <p:cNvPr id="31" name="AutoShape 3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87624" y="6157459"/>
            <a:ext cx="209550" cy="182562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 eaLnBrk="0" hangingPunct="0"/>
            <a:endParaRPr lang="en-US" sz="1400" b="1">
              <a:solidFill>
                <a:schemeClr val="bg2"/>
              </a:solidFill>
            </a:endParaRPr>
          </a:p>
        </p:txBody>
      </p:sp>
      <p:sp>
        <p:nvSpPr>
          <p:cNvPr id="35" name="Text Box 9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632061" y="6043864"/>
            <a:ext cx="612347" cy="190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55663" eaLnBrk="0" hangingPunct="0"/>
            <a:r>
              <a:rPr lang="ar-SA" sz="1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ول الزمني</a:t>
            </a:r>
            <a:endParaRPr lang="en-US" sz="1000" b="1" i="1" dirty="0">
              <a:solidFill>
                <a:schemeClr val="tx2"/>
              </a:solidFill>
              <a:latin typeface="Calibri" pitchFamily="34" charset="0"/>
            </a:endParaRPr>
          </a:p>
        </p:txBody>
      </p:sp>
      <p:cxnSp>
        <p:nvCxnSpPr>
          <p:cNvPr id="36" name="Elbow Connector 71"/>
          <p:cNvCxnSpPr/>
          <p:nvPr/>
        </p:nvCxnSpPr>
        <p:spPr>
          <a:xfrm>
            <a:off x="910563" y="6342342"/>
            <a:ext cx="7272000" cy="1"/>
          </a:xfrm>
          <a:prstGeom prst="straightConnector1">
            <a:avLst/>
          </a:prstGeom>
          <a:ln w="28575">
            <a:headEnd type="stealth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Box 9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9102" y="6444044"/>
            <a:ext cx="223872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55663" rtl="1" eaLnBrk="0" hangingPunct="0"/>
            <a:r>
              <a:rPr lang="ar-SA" sz="1200" b="1" spc="-3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بريل</a:t>
            </a:r>
            <a:r>
              <a:rPr lang="ar-EG" sz="1200" b="1" spc="-3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/ </a:t>
            </a:r>
            <a:r>
              <a:rPr lang="ar-SA" sz="1200" b="1" spc="-3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جلس </a:t>
            </a:r>
            <a:r>
              <a:rPr lang="en-US" sz="900" b="1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18</a:t>
            </a:r>
            <a:r>
              <a:rPr lang="ar-SA" sz="1200" b="1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اجتماع الرابع لفريق العمل التابع للمجلس والمعني بالخطتين المالية والاستراتيجية)</a:t>
            </a:r>
            <a:endParaRPr lang="en-US" sz="1200" b="1" spc="-30" dirty="0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46" name="Group 45"/>
          <p:cNvGrpSpPr/>
          <p:nvPr/>
        </p:nvGrpSpPr>
        <p:grpSpPr>
          <a:xfrm flipH="1">
            <a:off x="3682563" y="1160808"/>
            <a:ext cx="1753533" cy="540000"/>
            <a:chOff x="3807" y="0"/>
            <a:chExt cx="2159345" cy="792086"/>
          </a:xfrm>
        </p:grpSpPr>
        <p:sp>
          <p:nvSpPr>
            <p:cNvPr id="47" name="Chevron 46"/>
            <p:cNvSpPr/>
            <p:nvPr/>
          </p:nvSpPr>
          <p:spPr>
            <a:xfrm>
              <a:off x="3807" y="0"/>
              <a:ext cx="2159345" cy="792086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Chevron 4"/>
            <p:cNvSpPr/>
            <p:nvPr/>
          </p:nvSpPr>
          <p:spPr>
            <a:xfrm>
              <a:off x="225355" y="0"/>
              <a:ext cx="1749204" cy="792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008" tIns="21336" rIns="21336" bIns="21336" numCol="1" spcCol="1270" anchor="ctr" anchorCtr="0">
              <a:noAutofit/>
            </a:bodyPr>
            <a:lstStyle/>
            <a:p>
              <a:pPr lvl="0" algn="ctr" defTabSz="7112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sz="12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تحضير للاجتماع الثالث </a:t>
              </a:r>
              <a:r>
                <a:rPr lang="ar-EG" sz="1200" b="1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/>
              </a:r>
              <a:br>
                <a:rPr lang="ar-EG" sz="1200" b="1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</a:br>
              <a:r>
                <a:rPr lang="ar-SA" sz="1200" b="1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لفريق </a:t>
              </a:r>
              <a:r>
                <a:rPr lang="ar-SA" sz="12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عمل</a:t>
              </a:r>
              <a:endParaRPr lang="en-US" sz="1200" b="1" kern="1200" dirty="0"/>
            </a:p>
          </p:txBody>
        </p:sp>
      </p:grpSp>
      <p:sp>
        <p:nvSpPr>
          <p:cNvPr id="49" name="Rectangle 48"/>
          <p:cNvSpPr/>
          <p:nvPr/>
        </p:nvSpPr>
        <p:spPr>
          <a:xfrm>
            <a:off x="3757941" y="1987236"/>
            <a:ext cx="1525006" cy="23974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قرير بشأن المشاورة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ثانية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عرض </a:t>
            </a: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صيغة مراجَعة للأهداف والنتائج والنواتج القطاعية والمشتركة بين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قطاعات</a:t>
            </a:r>
            <a:endParaRPr lang="ar-EG" sz="1200" dirty="0" smtClean="0">
              <a:solidFill>
                <a:srgbClr val="44546A"/>
              </a:solidFill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دخلات للمؤتمر العالمي لتنمية الاتصالات لعام </a:t>
            </a:r>
            <a:r>
              <a:rPr lang="en-US" sz="9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17</a:t>
            </a:r>
            <a:endParaRPr lang="ar-EG" sz="9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روع نص الخطة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راتيجية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روع تحليل الحالة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راتيجية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قترح بشأن </a:t>
            </a:r>
            <a:r>
              <a:rPr lang="ar-SA" sz="12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اصد</a:t>
            </a:r>
            <a:endParaRPr lang="ar-EG" sz="1200" dirty="0" smtClean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اريع مراجعة القرارات </a:t>
            </a:r>
            <a:endParaRPr lang="en-US" sz="1200" dirty="0">
              <a:solidFill>
                <a:srgbClr val="44546A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757941" y="4623084"/>
            <a:ext cx="1525005" cy="136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روع نص الخطة الاستراتيجية (بما في ذلك تحليل الحالة)</a:t>
            </a:r>
            <a:endParaRPr lang="ar-EG" sz="1200" b="1" dirty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اريع مراجعة القرارات</a:t>
            </a:r>
            <a:endParaRPr lang="ar-EG" sz="1200" b="1" dirty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72000" indent="-72000" algn="r" rtl="1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ar-SA" sz="12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وثائق المقدمة للاجتماع الثالث لفريق العمل</a:t>
            </a:r>
            <a:endParaRPr lang="en-US" sz="1200" b="1" dirty="0">
              <a:solidFill>
                <a:srgbClr val="44546A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</p:txBody>
      </p:sp>
      <p:grpSp>
        <p:nvGrpSpPr>
          <p:cNvPr id="51" name="Group 50"/>
          <p:cNvGrpSpPr/>
          <p:nvPr/>
        </p:nvGrpSpPr>
        <p:grpSpPr>
          <a:xfrm flipH="1">
            <a:off x="2348355" y="1160808"/>
            <a:ext cx="1647581" cy="540000"/>
            <a:chOff x="2132128" y="0"/>
            <a:chExt cx="2028872" cy="792086"/>
          </a:xfrm>
        </p:grpSpPr>
        <p:sp>
          <p:nvSpPr>
            <p:cNvPr id="52" name="Chevron 51"/>
            <p:cNvSpPr/>
            <p:nvPr/>
          </p:nvSpPr>
          <p:spPr>
            <a:xfrm>
              <a:off x="2132128" y="0"/>
              <a:ext cx="1955031" cy="792086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3" name="Chevron 6"/>
            <p:cNvSpPr/>
            <p:nvPr/>
          </p:nvSpPr>
          <p:spPr>
            <a:xfrm>
              <a:off x="2220800" y="0"/>
              <a:ext cx="1940200" cy="792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008" tIns="21336" rIns="21336" bIns="21336" numCol="1" spcCol="1270" anchor="ctr" anchorCtr="0">
              <a:noAutofit/>
            </a:bodyPr>
            <a:lstStyle/>
            <a:p>
              <a:pPr algn="ctr" defTabSz="711200" rtl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SA" sz="1200" b="1" spc="-3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دعم مشاورة فريق العمل بشأن </a:t>
              </a:r>
              <a:r>
                <a:rPr lang="ar-EG" sz="1200" b="1" spc="-3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/>
              </a:r>
              <a:br>
                <a:rPr lang="ar-EG" sz="1200" b="1" spc="-3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</a:br>
              <a:r>
                <a:rPr lang="ar-SA" sz="1200" b="1" spc="-3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مشروع </a:t>
              </a:r>
              <a:r>
                <a:rPr lang="ar-SA" sz="1200" b="1" spc="-3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خطة الاستراتيجية</a:t>
              </a:r>
              <a:endParaRPr lang="en-US" sz="1100" b="1" spc="-30" dirty="0"/>
            </a:p>
          </p:txBody>
        </p:sp>
      </p:grpSp>
      <p:sp>
        <p:nvSpPr>
          <p:cNvPr id="54" name="Text Box 9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764197" y="6444044"/>
            <a:ext cx="201537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55663" rtl="1" eaLnBrk="0" hangingPunct="0"/>
            <a:r>
              <a:rPr lang="ar-SA" sz="1200" b="1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نهاية يناير </a:t>
            </a:r>
            <a:r>
              <a:rPr lang="en-US" sz="900" b="1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18</a:t>
            </a:r>
            <a:r>
              <a:rPr lang="ar-SA" sz="1200" b="1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اجتماع الثالث لفريق العمل التابع للمجلس والمعني بالخطتين المالية والاستراتيجية)</a:t>
            </a:r>
            <a:endParaRPr lang="en-US" sz="1200" b="1" spc="-3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55" name="AutoShape 3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35896" y="6148677"/>
            <a:ext cx="209550" cy="182562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 eaLnBrk="0" hangingPunct="0"/>
            <a:endParaRPr lang="en-US" sz="1400" b="1">
              <a:solidFill>
                <a:schemeClr val="bg2"/>
              </a:solidFill>
            </a:endParaRPr>
          </a:p>
        </p:txBody>
      </p:sp>
      <p:sp>
        <p:nvSpPr>
          <p:cNvPr id="56" name="Text Box 9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563610" y="6444044"/>
            <a:ext cx="216023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55663" rtl="1" eaLnBrk="0" hangingPunct="0"/>
            <a:r>
              <a:rPr lang="en-US" sz="900" b="1" spc="-30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12-11 </a:t>
            </a:r>
            <a:r>
              <a:rPr lang="ar-EG" sz="1200" b="1" spc="-3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200" b="1" spc="-3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سبتمبر</a:t>
            </a:r>
            <a:r>
              <a:rPr lang="en-US" sz="900" b="1" spc="-30" dirty="0" smtClean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2017</a:t>
            </a:r>
            <a:r>
              <a:rPr lang="en-US" sz="1200" b="1" spc="-3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200" b="1" spc="-3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200" b="1" spc="-3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(الاجتماع </a:t>
            </a:r>
            <a:r>
              <a:rPr lang="ar-SA" sz="1200" b="1" spc="-3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ثاني لفريق </a:t>
            </a:r>
            <a:r>
              <a:rPr lang="ar-SA" sz="1200" b="1" spc="-3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عمل</a:t>
            </a:r>
            <a:r>
              <a:rPr lang="ar-EG" sz="1200" b="1" spc="-3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التابع للمجلس والمعني بالخطتين المالية والاستراتيجية</a:t>
            </a:r>
            <a:r>
              <a:rPr lang="ar-SA" sz="1200" b="1" spc="-3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200" b="1" spc="-30" dirty="0">
              <a:solidFill>
                <a:schemeClr val="tx2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57" name="AutoShape 3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516216" y="6157459"/>
            <a:ext cx="209550" cy="182562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 eaLnBrk="0" hangingPunct="0"/>
            <a:endParaRPr lang="en-US" sz="1400" b="1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963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خطر الاستراتيجي </a:t>
            </a:r>
            <a:r>
              <a:rPr lang="en-US" sz="40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0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681608" y="1340768"/>
            <a:ext cx="7850832" cy="377217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خطر</a:t>
            </a: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endParaRPr lang="en-US" sz="1000" cap="small" dirty="0" smtClean="0">
              <a:solidFill>
                <a:srgbClr val="C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180000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عدم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جابة بسرعة للاحتياجات الناشئة والابتكار 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360000" lvl="1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خطر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عدم الاستجابة، بما يؤدي إلى انسحاب الأعضاء وأصحاب المصلحة 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آخرين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360000" lvl="1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خطر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خلف عن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ركب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endParaRPr lang="en-US" sz="2400" b="0" cap="small" dirty="0" smtClean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cap="small" dirty="0" smtClean="0">
                <a:solidFill>
                  <a:schemeClr val="accent6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ستراتيجية التخفيف</a:t>
            </a: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endParaRPr lang="en-US" sz="1050" dirty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فادي المخاطر: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خطيط للمستقبل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</a:t>
            </a:r>
            <a:r>
              <a:rPr lang="ar-SY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متع </a:t>
            </a:r>
            <a:r>
              <a:rPr lang="ar-SY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السرعة والاستجابة والابتكار</a:t>
            </a:r>
            <a:endParaRPr lang="ar-EG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من المخاطر: تعريف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ثقافة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نظيمية </a:t>
            </a:r>
            <a:r>
              <a:rPr lang="ar-EG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لائمة للغرض وتعزيزها وتنفيذها</a:t>
            </a:r>
            <a:endParaRPr lang="ar-EG" sz="2400" b="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نقل المخاطر: </a:t>
            </a:r>
            <a:r>
              <a:rPr lang="ar-SY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إشراك أصحاب المصلحة </a:t>
            </a:r>
            <a:r>
              <a:rPr lang="ar-SY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شكل استباقي</a:t>
            </a:r>
            <a:endParaRPr lang="en-US" sz="2400" b="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170267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خطر </a:t>
            </a:r>
            <a:r>
              <a:rPr lang="ar-SA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راتيجي</a:t>
            </a:r>
            <a:r>
              <a:rPr lang="ar-EG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4000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4</a:t>
            </a:r>
            <a:endParaRPr lang="en-US" sz="4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1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65584" y="1484784"/>
            <a:ext cx="8066856" cy="355365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خطر</a:t>
            </a:r>
            <a:br>
              <a:rPr lang="ar-EG" sz="240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</a:br>
            <a:endParaRPr lang="en-US" sz="1100" cap="small" dirty="0" smtClean="0">
              <a:solidFill>
                <a:srgbClr val="C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180000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خاوف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تصلة بالثقة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الطمأنينة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360000" lvl="1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خطر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زايد المخاوف المتصلة بالثقة التي يعرب عنها الأعضاء وأصحاب المصلحة 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360000" lvl="1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خطر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زايد المخاوف بشأن الثقة لدى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أعضاء</a:t>
            </a:r>
            <a:endParaRPr lang="en-US" sz="2400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endParaRPr lang="en-US" sz="2400" b="0" cap="small" dirty="0" smtClean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cap="small" dirty="0" smtClean="0">
                <a:solidFill>
                  <a:schemeClr val="accent6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ستراتيجية التخفيف</a:t>
            </a:r>
            <a:br>
              <a:rPr lang="ar-EG" sz="2400" cap="small" dirty="0" smtClean="0">
                <a:solidFill>
                  <a:schemeClr val="accent6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</a:br>
            <a:endParaRPr lang="en-US" sz="1200" cap="small" dirty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فادي المخاطر: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عتماد قيم مشتركة وتنفيذها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- </a:t>
            </a:r>
            <a:r>
              <a:rPr lang="ar-EG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سترشاد جميع التدابير بالقيم المعتمدة</a:t>
            </a:r>
            <a:endParaRPr lang="ar-EG" sz="2400" b="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177800" indent="-177800"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من المخاطر: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فاعل مع الأعضاء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أصحاب المصلحة الآخرين،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حسين التواصل</a:t>
            </a:r>
            <a:r>
              <a:rPr lang="ar-SA" sz="2400" b="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،</a:t>
            </a:r>
            <a:r>
              <a:rPr lang="ar-EG" sz="2400" b="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2400" b="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التزام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القيم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،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المسؤولية عن المبادرات الاستراتيجية</a:t>
            </a:r>
            <a:endParaRPr lang="en-US" sz="2400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010446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solidFill>
                  <a:srgbClr val="44546A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خطر الاستراتيجي</a:t>
            </a:r>
            <a:r>
              <a:rPr lang="ar-EG" dirty="0">
                <a:solidFill>
                  <a:srgbClr val="44546A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4000" dirty="0" smtClean="0">
                <a:solidFill>
                  <a:srgbClr val="44546A"/>
                </a:solidFill>
                <a:latin typeface="+mn-lt"/>
                <a:ea typeface="Times New Roman" panose="02020603050405020304" pitchFamily="18" charset="0"/>
                <a:cs typeface="Traditional Arabic" panose="02020603050405020304" pitchFamily="18" charset="-78"/>
              </a:rPr>
              <a:t>5</a:t>
            </a:r>
            <a:endParaRPr lang="en-US" dirty="0">
              <a:latin typeface="+mn-lt"/>
              <a:cs typeface="Traditional Arabic" panose="02020603050405020304" pitchFamily="18" charset="-7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32</a:t>
            </a:fld>
            <a:endParaRPr lang="en-US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5584" y="1340768"/>
            <a:ext cx="8066856" cy="482453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خطر</a:t>
            </a:r>
            <a:br>
              <a:rPr lang="ar-EG" sz="240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</a:br>
            <a:endParaRPr lang="en-US" sz="1200" cap="small" dirty="0" smtClean="0">
              <a:solidFill>
                <a:srgbClr val="C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180000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هياكل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أدوات ومنهجية وعمليات داخلية غير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كافية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360000" lvl="1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خطر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أن تصبح الهياكل والأساليب والأدوات غير كافية وغير </a:t>
            </a:r>
            <a:r>
              <a:rPr lang="ar-SA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فعالة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endParaRPr lang="en-US" sz="2400" b="0" cap="small" dirty="0" smtClean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cap="small" dirty="0" smtClean="0">
                <a:solidFill>
                  <a:schemeClr val="accent6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ستراتيجية التخفيف</a:t>
            </a:r>
            <a:br>
              <a:rPr lang="ar-EG" sz="2400" cap="small" dirty="0" smtClean="0">
                <a:solidFill>
                  <a:schemeClr val="accent6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</a:br>
            <a:endParaRPr lang="en-US" sz="1200" cap="small" dirty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من المخاطر: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حسين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الهياكل الداخلية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الأدوات والمنهجيات والعمليات</a:t>
            </a:r>
            <a:endParaRPr lang="ar-EG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نقل المخاطر: الشروع في عمليات من أجل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إقرار الجودة</a:t>
            </a:r>
            <a:endParaRPr lang="ar-EG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من المخاطر: تحسين التواصل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داخلياً وخارجياً</a:t>
            </a:r>
            <a:endParaRPr lang="en-US" sz="2400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95208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solidFill>
                  <a:srgbClr val="44546A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خطر الاستراتيجي</a:t>
            </a:r>
            <a:r>
              <a:rPr lang="ar-EG" dirty="0">
                <a:solidFill>
                  <a:srgbClr val="44546A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4000" dirty="0" smtClean="0">
                <a:solidFill>
                  <a:srgbClr val="44546A"/>
                </a:solidFill>
                <a:latin typeface="+mn-lt"/>
                <a:ea typeface="Times New Roman" panose="02020603050405020304" pitchFamily="18" charset="0"/>
                <a:cs typeface="Traditional Arabic" panose="02020603050405020304" pitchFamily="18" charset="-78"/>
              </a:rPr>
              <a:t>6</a:t>
            </a:r>
            <a:endParaRPr lang="en-US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3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70573" y="1412776"/>
            <a:ext cx="8138864" cy="3642911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خطر</a:t>
            </a:r>
            <a:br>
              <a:rPr lang="ar-EG" sz="2400" cap="small" dirty="0" smtClean="0">
                <a:solidFill>
                  <a:srgbClr val="C00000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</a:br>
            <a:endParaRPr lang="en-US" sz="1200" cap="small" dirty="0" smtClean="0">
              <a:solidFill>
                <a:srgbClr val="C00000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180000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عدم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كفاية التمويل (دعم غير كافٍ من حيث التمويل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360000" lvl="1" indent="-180000" algn="r" rtl="1">
              <a:lnSpc>
                <a:spcPct val="80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خطر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نخفاض المساهمات المالية </a:t>
            </a:r>
            <a:endParaRPr lang="en-US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endParaRPr lang="en-US" sz="2400" b="0" cap="small" dirty="0" smtClean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cap="small" dirty="0" smtClean="0">
                <a:solidFill>
                  <a:schemeClr val="accent6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ستراتيجية التخفيف</a:t>
            </a:r>
            <a:br>
              <a:rPr lang="ar-EG" sz="2400" cap="small" dirty="0" smtClean="0">
                <a:solidFill>
                  <a:schemeClr val="accent6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</a:br>
            <a:endParaRPr lang="en-US" sz="1200" cap="small" dirty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من المخاطر: التركيز على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أسواق وأطراف فاعلة جديدة</a:t>
            </a:r>
            <a:endParaRPr lang="ar-EG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من المخاطر: </a:t>
            </a:r>
            <a:r>
              <a:rPr lang="ar-SY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ضمان </a:t>
            </a:r>
            <a:r>
              <a:rPr lang="ar-SY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خطيط المالي الفعّال</a:t>
            </a:r>
            <a:endParaRPr lang="ar-EG" sz="24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من المخاطر: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ستراتيجية إشراك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أعضاء</a:t>
            </a:r>
            <a:endParaRPr lang="ar-EG" sz="2400" b="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  <a:spcBef>
                <a:spcPts val="600"/>
              </a:spcBef>
            </a:pPr>
            <a:r>
              <a:rPr lang="ar-EG" sz="2400" b="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- </a:t>
            </a:r>
            <a:r>
              <a:rPr lang="ar-SA" sz="2400" b="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من المخاطر: زيادة </a:t>
            </a:r>
            <a:r>
              <a:rPr lang="ar-SA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أهمية أنشطة الاتحاد</a:t>
            </a:r>
            <a:endParaRPr lang="en-US" sz="2400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665014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r" rtl="1"/>
            <a:r>
              <a:rPr lang="ar-EG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- </a:t>
            </a:r>
            <a:r>
              <a:rPr lang="ar-SA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مثلة 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 وكالات </a:t>
            </a:r>
            <a:r>
              <a:rPr lang="ar-SA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خرى</a:t>
            </a:r>
            <a:endParaRPr lang="ar-EG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r" rtl="1"/>
            <a:r>
              <a:rPr lang="ar-EG" dirty="0" smtClean="0">
                <a:latin typeface="Calibri" panose="020F0502020204030204" pitchFamily="34" charset="0"/>
                <a:cs typeface="Traditional Arabic" panose="02020603050405020304" pitchFamily="18" charset="-78"/>
              </a:rPr>
              <a:t>- نهج مقترح من أجل الاتحاد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 rtl="1"/>
            <a:r>
              <a:rPr lang="ar-SA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ربط بأهداف التنمية المستدامة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566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28600"/>
            <a:ext cx="7703768" cy="990600"/>
          </a:xfrm>
        </p:spPr>
        <p:txBody>
          <a:bodyPr/>
          <a:lstStyle/>
          <a:p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ثال من الاتحاد البريدي العالمي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6128" y="1988840"/>
            <a:ext cx="6631744" cy="405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730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mage result for wipo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8425" y="2204864"/>
            <a:ext cx="1222047" cy="874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78160"/>
            <a:ext cx="7703768" cy="990600"/>
          </a:xfrm>
        </p:spPr>
        <p:txBody>
          <a:bodyPr/>
          <a:lstStyle/>
          <a:p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ثال من المنظمة العالمية للملكية الفكرية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6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395536" y="1600200"/>
            <a:ext cx="7488832" cy="4925144"/>
          </a:xfrm>
        </p:spPr>
        <p:txBody>
          <a:bodyPr>
            <a:normAutofit fontScale="92500"/>
          </a:bodyPr>
          <a:lstStyle/>
          <a:p>
            <a:pPr algn="just" rtl="1"/>
            <a:r>
              <a:rPr lang="ar-SA" sz="32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ركيز على الهدف </a:t>
            </a:r>
            <a:r>
              <a:rPr lang="en-US" sz="28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9</a:t>
            </a:r>
            <a:r>
              <a:rPr lang="ar-EG" sz="32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من أهداف التنمية المستدامة (الابتكار</a:t>
            </a:r>
            <a:r>
              <a:rPr lang="ar-EG" sz="32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just" rtl="1"/>
            <a:r>
              <a:rPr lang="ar-SA" sz="2800" i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r>
              <a:rPr lang="ar-EG" sz="2800" i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ستشهد الفترة التي تغطيها الخطة الاستراتيجية الجديدة للأجل المتوسط أول تنفيذ لأهداف </a:t>
            </a:r>
            <a:r>
              <a:rPr lang="ar-SA" sz="2800" i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أمم المتحدة بشأن التنمية </a:t>
            </a:r>
            <a:r>
              <a:rPr lang="ar-EG" sz="2800" i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تدامة </a:t>
            </a:r>
            <a:r>
              <a:rPr lang="en-US" sz="2400" i="1" dirty="0" smtClean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(SDG)</a:t>
            </a:r>
            <a:r>
              <a:rPr lang="ar-EG" sz="2800" i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2800" i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خطة التنمية المستدامة </a:t>
            </a:r>
            <a:r>
              <a:rPr lang="en-US" sz="2400" i="1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2030</a:t>
            </a:r>
            <a:r>
              <a:rPr lang="ar-EG" sz="2800" i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. ومن المزمع تنفيذ الخطة الاستراتيجية بحيث تضمن المنظمة إسهامها إسهاماً فعلياً ودون الخروج عن ولايتها، في تنفيذ أهداف التنمية المستدامة مع إيلاء اهتمام خاص للابتكار في إطار الهدف رقم </a:t>
            </a:r>
            <a:r>
              <a:rPr lang="en-US" sz="2400" i="1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9</a:t>
            </a:r>
            <a:r>
              <a:rPr lang="ar-SA" sz="2800" i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endParaRPr lang="en-US" sz="2400" i="1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just" rtl="1"/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just" rtl="1"/>
            <a:r>
              <a:rPr lang="ar-SA" sz="32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ستراتيجيات المنظمة العالمية للملكية </a:t>
            </a:r>
            <a:r>
              <a:rPr lang="ar-SA" sz="32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فكرية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just" rtl="1"/>
            <a:r>
              <a:rPr lang="ar-SA" sz="2400" i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"دعم تنفيذ أهداف التنمية المستدامة وخطة التنمية المستدامة </a:t>
            </a:r>
            <a:r>
              <a:rPr lang="en-US" sz="2000" i="1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2030</a:t>
            </a:r>
            <a:r>
              <a:rPr lang="ar-EG" sz="2400" i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في إطار ولاية المنظمة ولا سيما ما يتعلق منها بالابتكار في ظل الهدف </a:t>
            </a:r>
            <a:r>
              <a:rPr lang="en-US" sz="2000" i="1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9</a:t>
            </a:r>
            <a:r>
              <a:rPr lang="ar-SA" sz="2400" i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endParaRPr lang="en-US" sz="2400" i="1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just" rtl="1"/>
            <a:r>
              <a:rPr lang="ar-SA" sz="2400" i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"تسعى المنظمة إلى النهوض بدور داعم وملتزم في تنفيذ أهداف التنمية المستدامة" 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490091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28672" y="278160"/>
            <a:ext cx="7703768" cy="990600"/>
          </a:xfrm>
        </p:spPr>
        <p:txBody>
          <a:bodyPr/>
          <a:lstStyle/>
          <a:p>
            <a:pPr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ثال من برنامج الأغذية العالمي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7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4266"/>
          <a:stretch/>
        </p:blipFill>
        <p:spPr>
          <a:xfrm>
            <a:off x="209839" y="1678293"/>
            <a:ext cx="8724322" cy="4847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01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7795" y="2136010"/>
            <a:ext cx="4948411" cy="431732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Autofit/>
          </a:bodyPr>
          <a:lstStyle/>
          <a:p>
            <a:pPr algn="r" rtl="1"/>
            <a:r>
              <a:rPr lang="ar-SA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نهج المقترح: تقابل أهداف التنمية المستدامة</a:t>
            </a:r>
            <a:endParaRPr lang="en-US" sz="4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8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097795" y="1300584"/>
            <a:ext cx="5066493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just" rtl="1"/>
            <a:r>
              <a:rPr lang="ar-SA" sz="20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قابل بين الأنشطة والنواتج الرئيسية للاتحاد وأهداف التنمية المستدامة </a:t>
            </a:r>
            <a:endParaRPr lang="ar-EG" sz="2000" b="1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just" rtl="1"/>
            <a:r>
              <a:rPr lang="ar-SA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تناسب </a:t>
            </a:r>
            <a:r>
              <a:rPr lang="ar-SA" sz="2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حجم أهداف التنمية المستدامة مع عدد الأنشطة/النواتج الرئيسية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999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Autofit/>
          </a:bodyPr>
          <a:lstStyle/>
          <a:p>
            <a:pPr algn="r" rtl="1"/>
            <a:r>
              <a:rPr lang="ar-EG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ربط بأهداف التنمية المستدامة: التقابل على مستوى الأهداف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9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07504" y="1196752"/>
            <a:ext cx="2609919" cy="294425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just" rtl="1">
              <a:lnSpc>
                <a:spcPct val="80000"/>
              </a:lnSpc>
              <a:spcBef>
                <a:spcPts val="600"/>
              </a:spcBef>
            </a:pPr>
            <a:r>
              <a:rPr lang="ar-EG" sz="2000" b="1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تقابل بين أهداف الاتحاد وأهداف التنمية المستدامة </a:t>
            </a:r>
            <a:endParaRPr lang="en-US" sz="2000" b="1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just" rtl="1">
              <a:lnSpc>
                <a:spcPct val="80000"/>
              </a:lnSpc>
              <a:spcBef>
                <a:spcPts val="600"/>
              </a:spcBef>
            </a:pPr>
            <a:r>
              <a:rPr lang="ar-SA" spc="-2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يتم إنشاء ربط "أولي" أو "ثانوي" للأهداف التي تساهم في تحقيق أهداف التنمية المستدامة </a:t>
            </a:r>
            <a:endParaRPr lang="ar-EG" spc="-2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just" rtl="1">
              <a:lnSpc>
                <a:spcPct val="80000"/>
              </a:lnSpc>
              <a:spcBef>
                <a:spcPts val="600"/>
              </a:spcBef>
            </a:pPr>
            <a:endParaRPr lang="en-US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285750" indent="-285750" algn="just" rtl="1">
              <a:lnSpc>
                <a:spcPct val="80000"/>
              </a:lnSpc>
              <a:spcBef>
                <a:spcPts val="600"/>
              </a:spcBef>
              <a:buFontTx/>
              <a:buChar char="-"/>
            </a:pPr>
            <a:r>
              <a:rPr lang="ar-SA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أولي</a:t>
            </a:r>
            <a:r>
              <a:rPr lang="ar-SA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(</a:t>
            </a:r>
            <a:r>
              <a:rPr lang="en-US" sz="1100" dirty="0">
                <a:solidFill>
                  <a:srgbClr val="FF0000"/>
                </a:solidFill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  <a:sym typeface="Wingdings 2" panose="05020102010507070707" pitchFamily="18" charset="2"/>
              </a:rPr>
              <a:t></a:t>
            </a:r>
            <a:r>
              <a:rPr lang="ar-EG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r>
              <a:rPr lang="ar-EG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إذا كان هذا الهدف</a:t>
            </a:r>
            <a:r>
              <a:rPr lang="ar-EG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يمثل</a:t>
            </a:r>
            <a:r>
              <a:rPr lang="ar-SA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مجال تركيز بالنسبة للاتحاد (</a:t>
            </a:r>
            <a:r>
              <a:rPr lang="ar-EG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ثلاً فيما يخص الهدف </a:t>
            </a:r>
            <a:r>
              <a:rPr lang="en-US" sz="1300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1.I</a:t>
            </a:r>
            <a:r>
              <a:rPr lang="ar-SA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 </a:t>
            </a:r>
            <a:endParaRPr lang="ar-EG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285750" indent="-285750" algn="just" rtl="1">
              <a:lnSpc>
                <a:spcPct val="80000"/>
              </a:lnSpc>
              <a:spcBef>
                <a:spcPts val="600"/>
              </a:spcBef>
              <a:buFontTx/>
              <a:buChar char="-"/>
            </a:pPr>
            <a:endParaRPr lang="en-US" b="1" spc="-1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285750" indent="-285750" algn="just" rtl="1">
              <a:lnSpc>
                <a:spcPct val="80000"/>
              </a:lnSpc>
              <a:spcBef>
                <a:spcPts val="600"/>
              </a:spcBef>
              <a:buFontTx/>
              <a:buChar char="-"/>
            </a:pPr>
            <a:r>
              <a:rPr lang="ar-SA" b="1" spc="-1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ثانوي</a:t>
            </a:r>
            <a:r>
              <a:rPr lang="ar-SA" spc="-1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pc="-1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(</a:t>
            </a:r>
            <a:r>
              <a:rPr lang="en-US" sz="1100" spc="-1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</a:t>
            </a:r>
            <a:r>
              <a:rPr lang="ar-EG" spc="-1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 </a:t>
            </a:r>
            <a:r>
              <a:rPr lang="ar-SA" spc="-1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إذا كان عمل الاتحاد ينطوي على دور تمكيني (كالمدخل الحالي</a:t>
            </a:r>
            <a:r>
              <a:rPr lang="ar-SA" spc="-1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pc="-1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5496" y="5836852"/>
            <a:ext cx="2789432" cy="784830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algn="r" rtl="1"/>
            <a:r>
              <a:rPr lang="ar-SA" sz="1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دخلات الأولية الحالية المتاحة في </a:t>
            </a:r>
            <a:r>
              <a:rPr lang="ar-SA" sz="1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hlinkClick r:id="rId3"/>
              </a:rPr>
              <a:t>أداة التقابل مع أهداف التنمية المستدامة</a:t>
            </a:r>
            <a:r>
              <a:rPr lang="ar-SA" sz="1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en-US" sz="1200" dirty="0" smtClean="0"/>
          </a:p>
          <a:p>
            <a:endParaRPr lang="en-US" sz="1200" b="1" dirty="0">
              <a:hlinkClick r:id="rId3"/>
            </a:endParaRPr>
          </a:p>
          <a:p>
            <a:r>
              <a:rPr lang="en-US" sz="900" b="1" dirty="0" smtClean="0">
                <a:hlinkClick r:id="rId3"/>
              </a:rPr>
              <a:t>https</a:t>
            </a:r>
            <a:r>
              <a:rPr lang="en-US" sz="900" b="1" dirty="0">
                <a:hlinkClick r:id="rId3"/>
              </a:rPr>
              <a:t>://www.itu.int/net4/CRM/SDG/#/</a:t>
            </a:r>
            <a:r>
              <a:rPr lang="en-US" sz="900" b="1" dirty="0" smtClean="0">
                <a:hlinkClick r:id="rId3"/>
              </a:rPr>
              <a:t>home/objectives</a:t>
            </a:r>
            <a:endParaRPr lang="en-US" sz="900" b="1" dirty="0"/>
          </a:p>
        </p:txBody>
      </p:sp>
      <p:grpSp>
        <p:nvGrpSpPr>
          <p:cNvPr id="4" name="Group 3"/>
          <p:cNvGrpSpPr/>
          <p:nvPr/>
        </p:nvGrpSpPr>
        <p:grpSpPr>
          <a:xfrm>
            <a:off x="2786092" y="1268760"/>
            <a:ext cx="6178396" cy="5149842"/>
            <a:chOff x="179512" y="1268760"/>
            <a:chExt cx="6178396" cy="5149842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4"/>
            <a:srcRect b="50697"/>
            <a:stretch/>
          </p:blipFill>
          <p:spPr>
            <a:xfrm>
              <a:off x="179512" y="1268760"/>
              <a:ext cx="6175057" cy="2664296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3298815" y="1592669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31" name="TextBox 17"/>
            <p:cNvSpPr txBox="1"/>
            <p:nvPr/>
          </p:nvSpPr>
          <p:spPr>
            <a:xfrm>
              <a:off x="4499992" y="2048094"/>
              <a:ext cx="28803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294594" y="1895218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294594" y="2179591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970013" y="1579915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965792" y="1882464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965792" y="2166837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618085" y="1579915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613864" y="1882464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613864" y="2166837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936261" y="1579915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4932040" y="1882464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4932040" y="2166837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642428" y="2162435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1314000" y="1891559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314000" y="2162435"/>
              <a:ext cx="169939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flipH="1">
              <a:off x="3267040" y="2466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 flipH="1">
              <a:off x="3256474" y="2757008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 flipH="1">
              <a:off x="3270380" y="33012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 flipH="1">
              <a:off x="5906356" y="2466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 flipH="1">
              <a:off x="2966120" y="2466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 flipH="1">
              <a:off x="1276527" y="2466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902975" y="2491383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578415" y="2491383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 flipH="1">
              <a:off x="3912776" y="2466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 flipH="1">
              <a:off x="4253924" y="2466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 flipH="1">
              <a:off x="4586946" y="2466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895497" y="2491383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 flipH="1">
              <a:off x="5572075" y="2466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5541308" y="2750314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250886" y="3043868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578589" y="3043868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1894223" y="3043868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2236460" y="3043868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2568308" y="3025922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881469" y="3040452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4218863" y="3025921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556862" y="3047259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4854911" y="3048055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5525982" y="3038472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5873153" y="3047259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 flipH="1">
              <a:off x="5906356" y="33012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 flipH="1">
              <a:off x="5534269" y="33012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 flipH="1">
              <a:off x="4582242" y="33012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 flipH="1">
              <a:off x="4256887" y="33012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 flipH="1">
              <a:off x="3920898" y="33012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 flipH="1">
              <a:off x="2952000" y="33012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1582550" y="3338811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 flipH="1">
              <a:off x="1266234" y="33012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 flipH="1">
              <a:off x="3265610" y="3582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 flipH="1">
              <a:off x="5906356" y="3582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 flipH="1">
              <a:off x="5550823" y="3582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 flipH="1">
              <a:off x="4595725" y="3582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 flipH="1">
              <a:off x="4271040" y="3582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 flipH="1">
              <a:off x="3924000" y="3582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 flipH="1">
              <a:off x="2952033" y="3582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581757" y="3576497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 flipH="1">
              <a:off x="1266234" y="3582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 flipH="1">
              <a:off x="3589908" y="2466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 flipH="1">
              <a:off x="3588637" y="33012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 flipH="1">
              <a:off x="3588637" y="3582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 flipH="1">
              <a:off x="1904793" y="2768382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 flipH="1">
              <a:off x="1890387" y="3582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 flipH="1">
              <a:off x="1890074" y="33012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 flipH="1">
              <a:off x="2952000" y="2766637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3560461" y="2730072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3548375" y="3047259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 flipH="1">
              <a:off x="3263484" y="3030287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 flipH="1">
              <a:off x="1274139" y="2754000"/>
              <a:ext cx="22786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2895304" y="3035121"/>
              <a:ext cx="28803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pic>
          <p:nvPicPr>
            <p:cNvPr id="99" name="Picture 98"/>
            <p:cNvPicPr>
              <a:picLocks noChangeAspect="1"/>
            </p:cNvPicPr>
            <p:nvPr/>
          </p:nvPicPr>
          <p:blipFill rotWithShape="1">
            <a:blip r:embed="rId4"/>
            <a:srcRect t="73489"/>
            <a:stretch/>
          </p:blipFill>
          <p:spPr>
            <a:xfrm>
              <a:off x="182850" y="4986000"/>
              <a:ext cx="6175057" cy="1432602"/>
            </a:xfrm>
            <a:prstGeom prst="rect">
              <a:avLst/>
            </a:prstGeom>
          </p:spPr>
        </p:pic>
        <p:pic>
          <p:nvPicPr>
            <p:cNvPr id="100" name="Picture 99"/>
            <p:cNvPicPr>
              <a:picLocks noChangeAspect="1"/>
            </p:cNvPicPr>
            <p:nvPr/>
          </p:nvPicPr>
          <p:blipFill rotWithShape="1">
            <a:blip r:embed="rId4"/>
            <a:srcRect t="48002" b="30943"/>
            <a:stretch/>
          </p:blipFill>
          <p:spPr>
            <a:xfrm>
              <a:off x="182851" y="3875360"/>
              <a:ext cx="6175057" cy="1137816"/>
            </a:xfrm>
            <a:prstGeom prst="rect">
              <a:avLst/>
            </a:prstGeom>
          </p:spPr>
        </p:pic>
        <p:pic>
          <p:nvPicPr>
            <p:cNvPr id="107" name="Picture 106"/>
            <p:cNvPicPr>
              <a:picLocks noChangeAspect="1"/>
            </p:cNvPicPr>
            <p:nvPr/>
          </p:nvPicPr>
          <p:blipFill rotWithShape="1">
            <a:blip r:embed="rId4"/>
            <a:srcRect l="6977" t="89054" r="3511" b="7046"/>
            <a:stretch/>
          </p:blipFill>
          <p:spPr>
            <a:xfrm>
              <a:off x="628724" y="5256000"/>
              <a:ext cx="5527451" cy="210715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567585" y="5856835"/>
              <a:ext cx="5588590" cy="2092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228828" y="5230825"/>
              <a:ext cx="28803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3582372" y="5536671"/>
              <a:ext cx="220038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0" rIns="3600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873153" y="5281117"/>
              <a:ext cx="28803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3220082" y="4962575"/>
              <a:ext cx="28803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5884802" y="4966885"/>
              <a:ext cx="28803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225836" y="3873349"/>
              <a:ext cx="6089084" cy="1112292"/>
            </a:xfrm>
            <a:prstGeom prst="rect">
              <a:avLst/>
            </a:prstGeom>
            <a:solidFill>
              <a:schemeClr val="accent2">
                <a:lumMod val="20000"/>
                <a:lumOff val="80000"/>
                <a:alpha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r>
                <a:rPr lang="ar-EG" sz="2400" dirty="0">
                  <a:solidFill>
                    <a:srgbClr val="44546A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مدخلات قطاع تنمية الاتصالات ينبغي </a:t>
              </a:r>
              <a:r>
                <a:rPr lang="ar-EG" sz="2400" dirty="0" smtClean="0">
                  <a:solidFill>
                    <a:srgbClr val="44546A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تضمينها</a:t>
              </a:r>
              <a:br>
                <a:rPr lang="ar-EG" sz="2400" dirty="0" smtClean="0">
                  <a:solidFill>
                    <a:srgbClr val="44546A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</a:br>
              <a:r>
                <a:rPr lang="ar-EG" sz="2400" dirty="0" smtClean="0">
                  <a:solidFill>
                    <a:srgbClr val="44546A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بعد </a:t>
              </a:r>
              <a:r>
                <a:rPr lang="ar-EG" sz="2400" dirty="0">
                  <a:solidFill>
                    <a:srgbClr val="44546A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مؤتمر </a:t>
              </a:r>
              <a:r>
                <a:rPr lang="ar-EG" sz="2400" dirty="0" smtClean="0">
                  <a:solidFill>
                    <a:srgbClr val="44546A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عالمي لتنمية </a:t>
              </a:r>
              <a:r>
                <a:rPr lang="ar-EG" sz="2400" dirty="0">
                  <a:solidFill>
                    <a:srgbClr val="44546A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اتصالات لعام </a:t>
              </a:r>
              <a:r>
                <a:rPr lang="en-US" sz="2000" dirty="0">
                  <a:solidFill>
                    <a:srgbClr val="44546A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2017</a:t>
              </a:r>
              <a:endParaRPr lang="en-GB" sz="2000" dirty="0">
                <a:solidFill>
                  <a:srgbClr val="44546A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5876272" y="5846650"/>
              <a:ext cx="28803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545630" y="6132396"/>
              <a:ext cx="5588590" cy="2092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1890016" y="5831677"/>
              <a:ext cx="220038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0" rIns="3600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3567646" y="5854861"/>
              <a:ext cx="28803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3239768" y="5846651"/>
              <a:ext cx="28803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2571896" y="6115661"/>
              <a:ext cx="28803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2894879" y="6112877"/>
              <a:ext cx="28803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1576627" y="5843230"/>
              <a:ext cx="28803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2920236" y="5851919"/>
              <a:ext cx="28803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3920898" y="6108618"/>
              <a:ext cx="220038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0" rIns="3600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4633528" y="6108618"/>
              <a:ext cx="220038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0" rIns="3600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270038" y="6104717"/>
              <a:ext cx="220038" cy="2412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0" rIns="36000" bIns="0" rtlCol="0">
              <a:noAutofit/>
            </a:bodyPr>
            <a:lstStyle/>
            <a:p>
              <a:pPr algn="ctr"/>
              <a:r>
                <a:rPr lang="en-US" sz="2000" dirty="0">
                  <a:solidFill>
                    <a:srgbClr val="FF0000"/>
                  </a:solidFill>
                  <a:sym typeface="Wingdings 2" panose="05020102010507070707" pitchFamily="18" charset="2"/>
                </a:rPr>
                <a:t>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5884802" y="6141603"/>
              <a:ext cx="28803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2252364" y="6120929"/>
              <a:ext cx="28803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4899021" y="6120929"/>
              <a:ext cx="28803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3242229" y="6112876"/>
              <a:ext cx="28803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  <a:sym typeface="Wingdings" panose="05000000000000000000" pitchFamily="2" charset="2"/>
                </a:rPr>
                <a:t>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4923" y="2478828"/>
            <a:ext cx="219075" cy="2095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0568" y="2501880"/>
            <a:ext cx="219075" cy="2095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15099" y="2531616"/>
            <a:ext cx="219075" cy="20955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4202" y="2766673"/>
            <a:ext cx="219075" cy="2095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0412" y="2794093"/>
            <a:ext cx="219075" cy="2095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1467" y="3054207"/>
            <a:ext cx="219075" cy="20955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33898" y="3054207"/>
            <a:ext cx="219075" cy="20955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2889" y="3028172"/>
            <a:ext cx="219075" cy="20955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2373" y="3037014"/>
            <a:ext cx="219075" cy="20955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10685" y="3044672"/>
            <a:ext cx="219075" cy="20955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1976" y="3061485"/>
            <a:ext cx="219075" cy="20955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5127" y="3046179"/>
            <a:ext cx="219075" cy="20955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8040" y="3045957"/>
            <a:ext cx="219075" cy="20955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1079" y="3037014"/>
            <a:ext cx="219075" cy="20955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9341" y="3037014"/>
            <a:ext cx="219075" cy="20955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10606" y="3045957"/>
            <a:ext cx="219075" cy="20955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90408" y="3046130"/>
            <a:ext cx="219075" cy="209550"/>
          </a:xfrm>
          <a:prstGeom prst="rect">
            <a:avLst/>
          </a:prstGeom>
        </p:spPr>
      </p:pic>
      <p:pic>
        <p:nvPicPr>
          <p:cNvPr id="102" name="Picture 10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20503" y="3046130"/>
            <a:ext cx="219075" cy="209550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7312" y="3324449"/>
            <a:ext cx="219075" cy="209550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7312" y="3613817"/>
            <a:ext cx="219075" cy="209550"/>
          </a:xfrm>
          <a:prstGeom prst="rect">
            <a:avLst/>
          </a:prstGeom>
        </p:spPr>
      </p:pic>
      <p:pic>
        <p:nvPicPr>
          <p:cNvPr id="110" name="Picture 10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1124" y="5867044"/>
            <a:ext cx="219075" cy="209550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8580" y="5849981"/>
            <a:ext cx="219075" cy="209550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1337" y="5867044"/>
            <a:ext cx="219075" cy="209550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9891" y="5856835"/>
            <a:ext cx="219075" cy="209550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28297" y="5856702"/>
            <a:ext cx="219075" cy="209550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29830" y="6154653"/>
            <a:ext cx="219075" cy="209550"/>
          </a:xfrm>
          <a:prstGeom prst="rect">
            <a:avLst/>
          </a:prstGeom>
        </p:spPr>
      </p:pic>
      <p:pic>
        <p:nvPicPr>
          <p:cNvPr id="130" name="Picture 1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81607" y="6120229"/>
            <a:ext cx="219075" cy="209550"/>
          </a:xfrm>
          <a:prstGeom prst="rect">
            <a:avLst/>
          </a:prstGeom>
        </p:spPr>
      </p:pic>
      <p:pic>
        <p:nvPicPr>
          <p:cNvPr id="131" name="Picture 1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12641" y="6128063"/>
            <a:ext cx="219075" cy="209550"/>
          </a:xfrm>
          <a:prstGeom prst="rect">
            <a:avLst/>
          </a:prstGeom>
        </p:spPr>
      </p:pic>
      <p:pic>
        <p:nvPicPr>
          <p:cNvPr id="132" name="Picture 1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2605" y="6128063"/>
            <a:ext cx="219075" cy="209550"/>
          </a:xfrm>
          <a:prstGeom prst="rect">
            <a:avLst/>
          </a:prstGeom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9491" y="6128063"/>
            <a:ext cx="219075" cy="209550"/>
          </a:xfrm>
          <a:prstGeom prst="rect">
            <a:avLst/>
          </a:prstGeom>
        </p:spPr>
      </p:pic>
      <p:pic>
        <p:nvPicPr>
          <p:cNvPr id="134" name="Picture 13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6555" y="6128063"/>
            <a:ext cx="219075" cy="20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63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1115616" y="2743200"/>
            <a:ext cx="6633244" cy="1673225"/>
          </a:xfrm>
        </p:spPr>
        <p:txBody>
          <a:bodyPr>
            <a:normAutofit/>
          </a:bodyPr>
          <a:lstStyle/>
          <a:p>
            <a:pPr algn="just" rtl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ar-EG" dirty="0" smtClean="0"/>
              <a:t>- </a:t>
            </a:r>
            <a:r>
              <a:rPr lang="ar-SA" dirty="0">
                <a:latin typeface="Times New Roman" panose="02020603050405020304" pitchFamily="18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دروس المستفادة (الخطة الاستراتيجية للفترة </a:t>
            </a:r>
            <a:r>
              <a:rPr lang="en-US" sz="24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2019-2016</a:t>
            </a:r>
            <a:r>
              <a:rPr lang="ar-EG" dirty="0">
                <a:latin typeface="Times New Roman" panose="02020603050405020304" pitchFamily="18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dirty="0" smtClean="0"/>
          </a:p>
          <a:p>
            <a:pPr marL="177800" indent="-177800" algn="just" rtl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ar-EG" dirty="0" smtClean="0"/>
              <a:t>- </a:t>
            </a:r>
            <a:r>
              <a:rPr lang="ar-SA" dirty="0">
                <a:latin typeface="Times New Roman" panose="02020603050405020304" pitchFamily="18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حليل استراتيجي/تحليل الحالة (الاتحاد والبيئة </a:t>
            </a:r>
            <a:r>
              <a:rPr lang="ar-EG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-</a:t>
            </a:r>
            <a:r>
              <a:rPr lang="ar-SA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dirty="0">
                <a:latin typeface="Times New Roman" panose="02020603050405020304" pitchFamily="18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واطن القوة والضعف والفرص والمخاطر)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 rtl="1">
              <a:spcAft>
                <a:spcPts val="600"/>
              </a:spcAft>
            </a:pPr>
            <a:r>
              <a:rPr lang="ar-SA" dirty="0">
                <a:latin typeface="Times New Roman" panose="02020603050405020304" pitchFamily="18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حليل الحالة/تحليل استراتيجي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739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نهج المقترح: التقابل مع أهداف التنمية المستدامة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0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3203848" y="962728"/>
            <a:ext cx="5796000" cy="5796000"/>
            <a:chOff x="720216" y="962728"/>
            <a:chExt cx="5796000" cy="5796000"/>
          </a:xfrm>
        </p:grpSpPr>
        <p:sp>
          <p:nvSpPr>
            <p:cNvPr id="13" name="Oval 12"/>
            <p:cNvSpPr>
              <a:spLocks noChangeAspect="1"/>
            </p:cNvSpPr>
            <p:nvPr/>
          </p:nvSpPr>
          <p:spPr>
            <a:xfrm>
              <a:off x="720216" y="962728"/>
              <a:ext cx="5796000" cy="57960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/>
            </a:p>
          </p:txBody>
        </p:sp>
        <p:sp>
          <p:nvSpPr>
            <p:cNvPr id="14" name="Oval 13"/>
            <p:cNvSpPr>
              <a:spLocks noChangeAspect="1"/>
            </p:cNvSpPr>
            <p:nvPr/>
          </p:nvSpPr>
          <p:spPr>
            <a:xfrm>
              <a:off x="1638215" y="1880728"/>
              <a:ext cx="3960000" cy="39600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  <a:p>
              <a:pPr algn="ctr"/>
              <a:endParaRPr lang="en-US" dirty="0" smtClean="0"/>
            </a:p>
            <a:p>
              <a:pPr algn="ctr"/>
              <a:endParaRPr lang="en-US" dirty="0"/>
            </a:p>
            <a:p>
              <a:pPr algn="ctr"/>
              <a:endParaRPr lang="en-US" dirty="0" smtClean="0"/>
            </a:p>
            <a:p>
              <a:pPr algn="ctr"/>
              <a:endParaRPr lang="en-US" dirty="0"/>
            </a:p>
            <a:p>
              <a:pPr algn="ctr"/>
              <a:endParaRPr lang="en-US" dirty="0" smtClean="0"/>
            </a:p>
            <a:p>
              <a:pPr algn="ctr"/>
              <a:endParaRPr lang="en-US" dirty="0"/>
            </a:p>
            <a:p>
              <a:pPr algn="ctr"/>
              <a:endParaRPr lang="en-US" dirty="0" smtClean="0"/>
            </a:p>
            <a:p>
              <a:pPr algn="ctr"/>
              <a:endParaRPr lang="en-US" dirty="0"/>
            </a:p>
            <a:p>
              <a:pPr algn="ctr">
                <a:lnSpc>
                  <a:spcPct val="80000"/>
                </a:lnSpc>
              </a:pPr>
              <a:endParaRPr lang="en-US" sz="2000" dirty="0" smtClean="0"/>
            </a:p>
          </p:txBody>
        </p:sp>
        <p:sp>
          <p:nvSpPr>
            <p:cNvPr id="15" name="Oval 14"/>
            <p:cNvSpPr>
              <a:spLocks noChangeAspect="1"/>
            </p:cNvSpPr>
            <p:nvPr/>
          </p:nvSpPr>
          <p:spPr>
            <a:xfrm>
              <a:off x="2718216" y="2946270"/>
              <a:ext cx="1800000" cy="18000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bIns="180000" rtlCol="0" anchor="ctr"/>
            <a:lstStyle/>
            <a:p>
              <a:pPr algn="ctr"/>
              <a:endParaRPr lang="en-US" sz="2000" b="1" dirty="0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0384" y="1916832"/>
              <a:ext cx="568800" cy="5688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62846" y="3384351"/>
              <a:ext cx="710738" cy="710738"/>
            </a:xfrm>
            <a:prstGeom prst="rect">
              <a:avLst/>
            </a:prstGeom>
          </p:spPr>
        </p:pic>
        <p:sp>
          <p:nvSpPr>
            <p:cNvPr id="39" name="TextBox 38"/>
            <p:cNvSpPr txBox="1"/>
            <p:nvPr/>
          </p:nvSpPr>
          <p:spPr>
            <a:xfrm>
              <a:off x="2431368" y="4139210"/>
              <a:ext cx="2483887" cy="5410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b="1" dirty="0" smtClean="0">
                  <a:solidFill>
                    <a:schemeClr val="bg1"/>
                  </a:solidFill>
                </a:rPr>
                <a:t>Universal</a:t>
              </a:r>
              <a:r>
                <a:rPr lang="en-US" dirty="0" smtClean="0">
                  <a:solidFill>
                    <a:schemeClr val="bg1"/>
                  </a:solidFill>
                </a:rPr>
                <a:t> &amp; </a:t>
              </a:r>
              <a:r>
                <a:rPr lang="en-US" b="1" dirty="0" smtClean="0">
                  <a:solidFill>
                    <a:schemeClr val="bg1"/>
                  </a:solidFill>
                </a:rPr>
                <a:t>affordable</a:t>
              </a:r>
              <a:r>
                <a:rPr lang="en-US" dirty="0" smtClean="0">
                  <a:solidFill>
                    <a:schemeClr val="bg1"/>
                  </a:solidFill>
                </a:rPr>
                <a:t> </a:t>
              </a:r>
              <a:r>
                <a:rPr lang="en-US" b="1" dirty="0" smtClean="0">
                  <a:solidFill>
                    <a:schemeClr val="bg1"/>
                  </a:solidFill>
                </a:rPr>
                <a:t>access</a:t>
              </a:r>
              <a:r>
                <a:rPr lang="en-US" dirty="0" smtClean="0">
                  <a:solidFill>
                    <a:schemeClr val="bg1"/>
                  </a:solidFill>
                </a:rPr>
                <a:t> for all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4122272" y="3391887"/>
              <a:ext cx="1607396" cy="4911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dirty="0" smtClean="0">
                  <a:solidFill>
                    <a:schemeClr val="bg1"/>
                  </a:solidFill>
                </a:rPr>
                <a:t>Higher 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education</a:t>
              </a:r>
              <a:r>
                <a:rPr lang="en-US" sz="1600" dirty="0" smtClean="0">
                  <a:solidFill>
                    <a:schemeClr val="bg1"/>
                  </a:solidFill>
                </a:rPr>
                <a:t> in ICTs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0424" y="2932418"/>
              <a:ext cx="568590" cy="568590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7105" y="2708920"/>
              <a:ext cx="639664" cy="639664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5083" y="2683620"/>
              <a:ext cx="639664" cy="639664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8456" y="3933056"/>
              <a:ext cx="568590" cy="568590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6810" y="4437112"/>
              <a:ext cx="568590" cy="568590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2642" y="5291272"/>
              <a:ext cx="568590" cy="568590"/>
            </a:xfrm>
            <a:prstGeom prst="rect">
              <a:avLst/>
            </a:prstGeom>
          </p:spPr>
        </p:pic>
        <p:pic>
          <p:nvPicPr>
            <p:cNvPr id="2050" name="Picture 2" descr="End poverty icon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1544" y="1276024"/>
              <a:ext cx="568800" cy="568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TextBox 48"/>
            <p:cNvSpPr txBox="1"/>
            <p:nvPr/>
          </p:nvSpPr>
          <p:spPr>
            <a:xfrm>
              <a:off x="2238546" y="4779764"/>
              <a:ext cx="1607396" cy="6881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dirty="0" smtClean="0">
                  <a:solidFill>
                    <a:schemeClr val="bg1"/>
                  </a:solidFill>
                </a:rPr>
                <a:t>Enhanced 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use of ICTs </a:t>
              </a:r>
              <a:r>
                <a:rPr lang="en-US" sz="1600" dirty="0" smtClean="0">
                  <a:solidFill>
                    <a:schemeClr val="bg1"/>
                  </a:solidFill>
                </a:rPr>
                <a:t>for global partnership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373728" y="2999053"/>
              <a:ext cx="2483887" cy="3877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2400" b="1" dirty="0" smtClean="0">
                  <a:solidFill>
                    <a:schemeClr val="bg1"/>
                  </a:solidFill>
                </a:rPr>
                <a:t>Key focus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0448" y="4797152"/>
              <a:ext cx="639664" cy="639664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36145" y="5668722"/>
              <a:ext cx="568590" cy="568590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4160" y="1844824"/>
              <a:ext cx="639664" cy="639664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6151" y="5371673"/>
              <a:ext cx="568590" cy="568590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7458" y="4228562"/>
              <a:ext cx="568590" cy="568590"/>
            </a:xfrm>
            <a:prstGeom prst="rect">
              <a:avLst/>
            </a:prstGeom>
          </p:spPr>
        </p:pic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5138" y="3257429"/>
              <a:ext cx="568590" cy="568590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9877" y="1997881"/>
              <a:ext cx="568590" cy="568590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94080" y="1276234"/>
              <a:ext cx="568590" cy="568590"/>
            </a:xfrm>
            <a:prstGeom prst="rect">
              <a:avLst/>
            </a:prstGeom>
          </p:spPr>
        </p:pic>
        <p:sp>
          <p:nvSpPr>
            <p:cNvPr id="59" name="TextBox 58"/>
            <p:cNvSpPr txBox="1"/>
            <p:nvPr/>
          </p:nvSpPr>
          <p:spPr>
            <a:xfrm>
              <a:off x="1529984" y="3334132"/>
              <a:ext cx="1607396" cy="6832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b="1" dirty="0" smtClean="0">
                  <a:solidFill>
                    <a:schemeClr val="bg1"/>
                  </a:solidFill>
                </a:rPr>
                <a:t>Empowering women </a:t>
              </a:r>
              <a:r>
                <a:rPr lang="en-US" sz="1600" dirty="0" smtClean="0">
                  <a:solidFill>
                    <a:schemeClr val="bg1"/>
                  </a:solidFill>
                </a:rPr>
                <a:t>through ICTs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3482092" y="1913707"/>
              <a:ext cx="1164564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b="1" dirty="0" smtClean="0">
                  <a:solidFill>
                    <a:schemeClr val="bg1"/>
                  </a:solidFill>
                </a:rPr>
                <a:t>Smart</a:t>
              </a:r>
              <a:endParaRPr lang="en-US" sz="1600" dirty="0">
                <a:solidFill>
                  <a:schemeClr val="bg1"/>
                </a:solidFill>
              </a:endParaRPr>
            </a:p>
            <a:p>
              <a:pPr algn="ctr">
                <a:lnSpc>
                  <a:spcPct val="80000"/>
                </a:lnSpc>
              </a:pPr>
              <a:r>
                <a:rPr lang="en-US" sz="1600" dirty="0" smtClean="0">
                  <a:solidFill>
                    <a:schemeClr val="bg1"/>
                  </a:solidFill>
                </a:rPr>
                <a:t>cities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4" name="Content Placeholder 3"/>
          <p:cNvSpPr>
            <a:spLocks noGrp="1"/>
          </p:cNvSpPr>
          <p:nvPr>
            <p:ph sz="quarter" idx="1"/>
          </p:nvPr>
        </p:nvSpPr>
        <p:spPr>
          <a:xfrm>
            <a:off x="328484" y="2566470"/>
            <a:ext cx="2435759" cy="4102889"/>
          </a:xfrm>
        </p:spPr>
        <p:txBody>
          <a:bodyPr>
            <a:noAutofit/>
          </a:bodyPr>
          <a:lstStyle/>
          <a:p>
            <a:pPr marL="0" indent="0" algn="r" rtl="1">
              <a:buSzPct val="95000"/>
              <a:buNone/>
            </a:pPr>
            <a:r>
              <a:rPr lang="ar-SA" sz="18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دور الاتحاد</a:t>
            </a:r>
            <a:r>
              <a:rPr lang="ar-SA" sz="18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en-US" sz="1800" b="1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271463" indent="-271463" algn="r" rtl="1">
              <a:buSzPct val="95000"/>
              <a:buNone/>
            </a:pPr>
            <a:r>
              <a:rPr lang="en-US" sz="1500" dirty="0" smtClean="0">
                <a:solidFill>
                  <a:srgbClr val="498BC9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.1</a:t>
            </a:r>
            <a:r>
              <a:rPr lang="ar-EG" sz="1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 </a:t>
            </a:r>
            <a:r>
              <a:rPr lang="ar-SA" sz="1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اهمة </a:t>
            </a:r>
            <a:r>
              <a:rPr lang="ar-SA" sz="1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في مجالات التركيز الرئيسية لأهداف التنمية </a:t>
            </a:r>
            <a:r>
              <a:rPr lang="ar-SA" sz="1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تدامة</a:t>
            </a:r>
            <a:endParaRPr lang="en-US" sz="180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271463" indent="-271463" algn="r" rtl="1">
              <a:buSzPct val="95000"/>
              <a:buNone/>
            </a:pPr>
            <a:r>
              <a:rPr lang="en-US" sz="1500" dirty="0" smtClean="0">
                <a:solidFill>
                  <a:srgbClr val="498BC9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.2</a:t>
            </a:r>
            <a:r>
              <a:rPr lang="ar-EG" sz="1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 </a:t>
            </a:r>
            <a:r>
              <a:rPr lang="ar-SA" sz="1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</a:t>
            </a:r>
            <a:r>
              <a:rPr lang="ar-SA" sz="1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دور </a:t>
            </a:r>
            <a:r>
              <a:rPr lang="ar-SA" sz="1800" dirty="0" err="1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</a:t>
            </a:r>
            <a:r>
              <a:rPr lang="ar-SA" sz="1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لتكنولوجيا المعلومات والاتصالات عبر القطاعات فيما يتعلق بجميع أهداف التنمية المستدامة (من خلال إقامة شراكات متنوعة</a:t>
            </a:r>
            <a:r>
              <a:rPr lang="ar-SA" sz="1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sz="180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271463" indent="-271463" algn="r" rtl="1">
              <a:buSzPct val="95000"/>
              <a:buNone/>
            </a:pPr>
            <a:r>
              <a:rPr lang="en-US" sz="1500" dirty="0" smtClean="0">
                <a:solidFill>
                  <a:srgbClr val="498BC9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.3</a:t>
            </a:r>
            <a:r>
              <a:rPr lang="ar-EG" sz="15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 </a:t>
            </a:r>
            <a:r>
              <a:rPr lang="ar-SA" sz="1800" spc="-2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</a:t>
            </a:r>
            <a:r>
              <a:rPr lang="ar-SA" sz="1800" spc="-2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جاهات التكنولوجية من أجل تنفيذ أهداف التنمية </a:t>
            </a:r>
            <a:r>
              <a:rPr lang="ar-SA" sz="1800" spc="-2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تدامة</a:t>
            </a:r>
            <a:endParaRPr lang="en-US" sz="1800" spc="-20" dirty="0" smtClean="0">
              <a:latin typeface="Traditional Arabic" panose="02020603050405020304" pitchFamily="18" charset="-78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271463" indent="-271463" algn="r" rtl="1">
              <a:buSzPct val="95000"/>
              <a:buNone/>
            </a:pPr>
            <a:r>
              <a:rPr lang="en-US" sz="1500" dirty="0" smtClean="0">
                <a:solidFill>
                  <a:srgbClr val="498BC9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.4</a:t>
            </a:r>
            <a:r>
              <a:rPr lang="ar-EG" sz="15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  </a:t>
            </a:r>
            <a:r>
              <a:rPr lang="ar-SA" sz="1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تبع </a:t>
            </a:r>
            <a:r>
              <a:rPr lang="ar-SA" sz="1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قدم المحرز وتقييم أهداف التنمية المستدامة القائمة على تكنولوجيا المعلومات والاتصالات</a:t>
            </a:r>
            <a:endParaRPr lang="en-US" sz="1800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36" name="Content Placeholder 3"/>
          <p:cNvSpPr txBox="1">
            <a:spLocks/>
          </p:cNvSpPr>
          <p:nvPr/>
        </p:nvSpPr>
        <p:spPr>
          <a:xfrm>
            <a:off x="7017505" y="1196680"/>
            <a:ext cx="2018991" cy="128844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162900" indent="-162900">
              <a:spcBef>
                <a:spcPts val="700"/>
              </a:spcBef>
              <a:buClr>
                <a:schemeClr val="accent2"/>
              </a:buClr>
              <a:buSzPct val="95000"/>
              <a:buFont typeface="+mj-lt"/>
              <a:buAutoNum type="arabicPeriod"/>
              <a:defRPr kumimoji="0" sz="1600"/>
            </a:lvl1pPr>
            <a:lvl2pPr marL="640080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/>
            </a:lvl2pPr>
            <a:lvl3pPr indent="-228600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/>
            </a:lvl3pPr>
            <a:lvl4pPr indent="-228600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/>
            </a:lvl4pPr>
            <a:lvl5pPr indent="-228600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/>
            </a:lvl5pPr>
            <a:lvl6pPr marL="2103120" indent="-228600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baseline="0"/>
            </a:lvl6pPr>
            <a:lvl7pPr marL="2377440" indent="-228600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baseline="0"/>
            </a:lvl7pPr>
            <a:lvl8pPr marL="2651760" indent="-228600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baseline="0"/>
            </a:lvl8pPr>
            <a:lvl9pPr marL="2926080" indent="-228600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baseline="0"/>
            </a:lvl9pPr>
          </a:lstStyle>
          <a:p>
            <a:pPr>
              <a:buFont typeface="+mj-lt"/>
              <a:buAutoNum type="arabicPeriod" startAt="2"/>
            </a:pPr>
            <a:endParaRPr lang="en-US" dirty="0"/>
          </a:p>
        </p:txBody>
      </p:sp>
      <p:sp>
        <p:nvSpPr>
          <p:cNvPr id="33" name="Content Placeholder 3"/>
          <p:cNvSpPr txBox="1">
            <a:spLocks/>
          </p:cNvSpPr>
          <p:nvPr/>
        </p:nvSpPr>
        <p:spPr>
          <a:xfrm>
            <a:off x="35496" y="1091786"/>
            <a:ext cx="3334002" cy="936484"/>
          </a:xfrm>
          <a:prstGeom prst="rect">
            <a:avLst/>
          </a:prstGeom>
        </p:spPr>
        <p:txBody>
          <a:bodyPr vert="horz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 algn="r" rtl="1">
              <a:buSzPct val="95000"/>
              <a:buNone/>
            </a:pP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* يتم تحديث الشكل عند استكمال عملية التقابل 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02984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r" rtl="1"/>
            <a:r>
              <a:rPr lang="ar-EG" sz="3100" dirty="0" smtClean="0"/>
              <a:t>- </a:t>
            </a:r>
            <a:r>
              <a:rPr lang="ar-SA" sz="3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والنتائج والنواتج لكل قطاع </a:t>
            </a:r>
            <a:r>
              <a:rPr lang="ar-SA" sz="3100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‍مشتركة</a:t>
            </a:r>
            <a:r>
              <a:rPr lang="ar-SA" sz="3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ين القطاعات</a:t>
            </a:r>
            <a:endParaRPr lang="ar-EG" sz="3100" dirty="0" smtClean="0"/>
          </a:p>
          <a:p>
            <a:pPr algn="r" rtl="1"/>
            <a:r>
              <a:rPr lang="ar-EG" sz="3100" dirty="0" smtClean="0"/>
              <a:t>- </a:t>
            </a:r>
            <a:r>
              <a:rPr lang="ar-SA" sz="3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وامل </a:t>
            </a:r>
            <a:r>
              <a:rPr lang="ar-SA" sz="3100" dirty="0" err="1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ة</a:t>
            </a:r>
            <a:endParaRPr lang="ar-EG" sz="31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إطار نتائج الاتحاد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89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GB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.R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لوائح استخدام الطيف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2</a:t>
            </a:fld>
            <a:endParaRPr lang="en-US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671513" y="10461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519336"/>
              </p:ext>
            </p:extLst>
          </p:nvPr>
        </p:nvGraphicFramePr>
        <p:xfrm>
          <a:off x="493340" y="1289841"/>
          <a:ext cx="8039100" cy="3705225"/>
        </p:xfrm>
        <a:graphic>
          <a:graphicData uri="http://schemas.openxmlformats.org/drawingml/2006/table">
            <a:tbl>
              <a:tblPr rtl="1" firstRow="1" bandRow="1">
                <a:tableStyleId>{5C22544A-7EE6-4342-B048-85BDC9FD1C3A}</a:tableStyleId>
              </a:tblPr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solidFill>
                            <a:schemeClr val="tx1"/>
                          </a:solidFill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dirty="0">
                          <a:solidFill>
                            <a:schemeClr val="tx1"/>
                          </a:solidFill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dirty="0">
                          <a:solidFill>
                            <a:schemeClr val="tx1"/>
                          </a:solidFill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66035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+mn-lt"/>
                          <a:cs typeface="Traditional Arabic" panose="02020603050405020304" pitchFamily="18" charset="-78"/>
                        </a:rPr>
                        <a:t>1.R</a:t>
                      </a:r>
                      <a:r>
                        <a:rPr lang="ar-SY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Y" sz="1600" spc="-20" baseline="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الاستجابة بطريقة رشيدة وعادلة وفعّالة واقتصادية وفي الوقت المناسب لمتطلبات أعضاء </a:t>
                      </a:r>
                      <a:r>
                        <a:rPr lang="ar-SY" sz="1600" spc="-20" baseline="0" dirty="0" smtClean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الاتحاد </a:t>
                      </a:r>
                      <a:r>
                        <a:rPr lang="ar-SY" sz="1600" spc="-20" baseline="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من موارد طيف الترددات الراديوية والمدارات </a:t>
                      </a:r>
                      <a:r>
                        <a:rPr lang="ar-SY" sz="1600" spc="-20" baseline="0" dirty="0" err="1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الساتلية</a:t>
                      </a:r>
                      <a:r>
                        <a:rPr lang="ar-SY" sz="1600" spc="-20" baseline="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 مع تفادي التداخل الضار</a:t>
                      </a:r>
                      <a:endParaRPr lang="en-US" sz="1400" spc="-20" baseline="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+mn-lt"/>
                          <a:cs typeface="Traditional Arabic" panose="02020603050405020304" pitchFamily="18" charset="-78"/>
                        </a:rPr>
                        <a:t>1-1.R</a:t>
                      </a:r>
                      <a:r>
                        <a:rPr lang="ar-SY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: زيادة عدد البلدان التي لديها شبكات </a:t>
                      </a:r>
                      <a:r>
                        <a:rPr lang="ar-SY" sz="1600" dirty="0" err="1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ساتلية</a:t>
                      </a:r>
                      <a:r>
                        <a:rPr lang="ar-SY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 ومحطات أرضية مسجلة في السجل الأساسي الدولي للترددات </a:t>
                      </a:r>
                      <a:r>
                        <a:rPr lang="en-GB" sz="1100" dirty="0">
                          <a:effectLst/>
                          <a:latin typeface="+mn-lt"/>
                          <a:cs typeface="Traditional Arabic" panose="02020603050405020304" pitchFamily="18" charset="-78"/>
                        </a:rPr>
                        <a:t>(MIFR)</a:t>
                      </a:r>
                      <a:endParaRPr lang="en-US" sz="1400" dirty="0">
                        <a:effectLst/>
                        <a:latin typeface="+mn-lt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+mn-lt"/>
                          <a:cs typeface="Traditional Arabic" panose="02020603050405020304" pitchFamily="18" charset="-78"/>
                        </a:rPr>
                        <a:t>2-1.R</a:t>
                      </a:r>
                      <a:r>
                        <a:rPr lang="ar-SY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: زيادة عدد البلدان التي لديها تخصيصات تردد لخدمات للأرض مسجلة في السجل الأساسي الدولي للترددات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+mn-lt"/>
                          <a:cs typeface="Traditional Arabic" panose="02020603050405020304" pitchFamily="18" charset="-78"/>
                        </a:rPr>
                        <a:t>3-1.R</a:t>
                      </a:r>
                      <a:r>
                        <a:rPr lang="ar-SY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: زيادة النسبة المئوية للتخصيصات المسجّلة في السجل الأساسي الدولي للترددات مع نتائج إيجابية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+mn-lt"/>
                          <a:cs typeface="Traditional Arabic" panose="02020603050405020304" pitchFamily="18" charset="-78"/>
                        </a:rPr>
                        <a:t>4-1.R</a:t>
                      </a:r>
                      <a:r>
                        <a:rPr lang="ar-SY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: زيادة النسبة المئوية للبلدان التي استكملت عملية الانتقال إلى الإذاعة التلفزيونية الرقمية للأرض</a:t>
                      </a:r>
                      <a:r>
                        <a:rPr lang="ar-SY" sz="11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 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+mn-lt"/>
                          <a:cs typeface="Traditional Arabic" panose="02020603050405020304" pitchFamily="18" charset="-78"/>
                        </a:rPr>
                        <a:t>5-1.R</a:t>
                      </a:r>
                      <a:r>
                        <a:rPr lang="ar-SY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: زيادة النسبة المئوية للطيف المخصص للشبكات </a:t>
                      </a:r>
                      <a:r>
                        <a:rPr lang="ar-SY" sz="1600" dirty="0" err="1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الساتلية</a:t>
                      </a:r>
                      <a:r>
                        <a:rPr lang="ar-SY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 والخالي من التداخلات الضارة</a:t>
                      </a:r>
                      <a:r>
                        <a:rPr lang="ar-SY" sz="11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 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+mn-lt"/>
                          <a:cs typeface="Traditional Arabic" panose="02020603050405020304" pitchFamily="18" charset="-78"/>
                        </a:rPr>
                        <a:t>6-1.R</a:t>
                      </a:r>
                      <a:r>
                        <a:rPr lang="ar-SY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: زيادة النسبة المئوية من التخصيصات لخدمات الأرض المسجلة في السجل الأساسي والخالية من التداخلات الضارة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36220" indent="-23622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-	الوثائق الختامية للمؤتمرات العالمية للاتصالات الراديوية وتحديث لوائح الراديو</a:t>
                      </a:r>
                      <a:r>
                        <a:rPr lang="ar-EG" sz="11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 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  <a:p>
                      <a:pPr marL="236220" indent="-23622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-	الوثائق الختامية للمؤتمرات الإقليمية للاتصالات الراديوية والاتفاقات الإقليمية</a:t>
                      </a:r>
                      <a:r>
                        <a:rPr lang="ar-EG" sz="11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 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  <a:p>
                      <a:pPr marL="236220" indent="-23622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-	القواعد الإجرائية والقرارات الأخرى للجنة لوائح الراديو </a:t>
                      </a:r>
                      <a:r>
                        <a:rPr lang="en-GB" sz="1100" dirty="0">
                          <a:effectLst/>
                          <a:latin typeface="+mn-lt"/>
                          <a:cs typeface="Traditional Arabic" panose="02020603050405020304" pitchFamily="18" charset="-78"/>
                        </a:rPr>
                        <a:t>(RRB)</a:t>
                      </a:r>
                      <a:r>
                        <a:rPr lang="en-GB" sz="1600" dirty="0">
                          <a:effectLst/>
                          <a:latin typeface="+mn-lt"/>
                          <a:cs typeface="Traditional Arabic" panose="02020603050405020304" pitchFamily="18" charset="-78"/>
                        </a:rPr>
                        <a:t> </a:t>
                      </a:r>
                      <a:endParaRPr lang="en-US" sz="1400" dirty="0">
                        <a:effectLst/>
                        <a:latin typeface="+mn-lt"/>
                        <a:cs typeface="Traditional Arabic" panose="02020603050405020304" pitchFamily="18" charset="-78"/>
                      </a:endParaRPr>
                    </a:p>
                    <a:p>
                      <a:pPr marL="236220" indent="-23622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-	</a:t>
                      </a:r>
                      <a:r>
                        <a:rPr lang="ar-EG" sz="1600" spc="-20" baseline="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نشر بطاقات التبليغ عن الخدمات الفضائية والأنشطة الأخرى ذات الصلة</a:t>
                      </a:r>
                      <a:r>
                        <a:rPr lang="ar-EG" sz="1100" spc="-20" baseline="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 </a:t>
                      </a:r>
                      <a:endParaRPr lang="en-US" sz="1400" spc="-20" baseline="0" dirty="0">
                        <a:effectLst/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  <a:p>
                      <a:pPr marL="236220" indent="-23622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dirty="0">
                          <a:effectLst/>
                          <a:latin typeface="Traditional Arabic" panose="02020603050405020304" pitchFamily="18" charset="-78"/>
                          <a:cs typeface="Traditional Arabic" panose="02020603050405020304" pitchFamily="18" charset="-78"/>
                        </a:rPr>
                        <a:t>-	نشر بطاقات التبليغ عن خدمات الأرض والأنشطة الأخرى ذات الصلة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2328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GB" sz="3600" dirty="0">
                <a:latin typeface="+mn-lt"/>
                <a:ea typeface="Times New Roman" panose="02020603050405020304" pitchFamily="18" charset="0"/>
                <a:cs typeface="Traditional Arabic" panose="02020603050405020304" pitchFamily="18" charset="-78"/>
              </a:rPr>
              <a:t>2.R</a:t>
            </a:r>
            <a:r>
              <a:rPr lang="ar-SA" sz="3600" dirty="0">
                <a:latin typeface="+mn-lt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معايير الاتصالات الراديوية)</a:t>
            </a:r>
            <a:endParaRPr lang="en-US" sz="3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3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4948041"/>
              </p:ext>
            </p:extLst>
          </p:nvPr>
        </p:nvGraphicFramePr>
        <p:xfrm>
          <a:off x="493340" y="1268760"/>
          <a:ext cx="8039100" cy="42894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566035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spc="-2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.R</a:t>
                      </a:r>
                      <a:r>
                        <a:rPr lang="ar-EG" sz="1100" spc="-2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Y" sz="1600" spc="-2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ضمان </a:t>
                      </a:r>
                      <a:r>
                        <a:rPr lang="ar-SY" sz="1600" spc="-2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وصيلية وإمكانية التشغيل البيني في العالم وتحسين الأداء والنوعية والقدرة على تحمل تكاليف الخدمة وتقديم الخدمة في الوقت المناسب وتحقيق مردودية الأنظمة بشكل عام في مجال الاتصالات الراديوية</a:t>
                      </a:r>
                      <a:r>
                        <a:rPr lang="ar-EG" sz="1600" spc="-2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، بما في ذلك من خلال وضع المعايير الدولية</a:t>
                      </a:r>
                      <a:endParaRPr lang="en-US" sz="1400" spc="-20" baseline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2.R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النفاذ إلى النطاق العريض المتنقل بما في ذلك في نطاقات التردد المحددة للاتصالات المتنقلة الدولية 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IMT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2.R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خفض سلة أسعار النطاق العريض المتنقل كنسبة من الدخل القومي الإجمالي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GNI)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للفرد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2.R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عدد الوصلات الثابتة وزيادة مقدار الحركة المتداولة عبر الخدمة الثابتة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</a:t>
                      </a:r>
                      <a:r>
                        <a:rPr lang="en-GB" sz="11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Tbit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/s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-2.R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عدد الأسر التي لديها استقبال للتلفزيون الرقمي للأرض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5-2.R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عدد المرسلات المستجيبات </a:t>
                      </a:r>
                      <a:r>
                        <a:rPr lang="ar-EG" sz="16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ساتلية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العاملة (بعرض نطاق مكافئ 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MHz 36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) والسعة المقابلة 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</a:t>
                      </a:r>
                      <a:r>
                        <a:rPr lang="en-GB" sz="11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Tbit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/s)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؛ وعدد </a:t>
                      </a:r>
                      <a:r>
                        <a:rPr lang="ar-EG" sz="16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طاريف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ذات الفتحات الصغيرة جداً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VSAT)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؛ وعدد الأسر التي لديها استقبال للتلفزيون </a:t>
                      </a:r>
                      <a:r>
                        <a:rPr lang="ar-EG" sz="16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ساتلي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6-2.R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عدد الأجهزة المزودة بإمكانية استقبال إشارات خدمة الملاحة الراديوية </a:t>
                      </a:r>
                      <a:r>
                        <a:rPr lang="ar-EG" sz="16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ساتلي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spc="-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7-2.R</a:t>
                      </a:r>
                      <a:r>
                        <a:rPr lang="ar-EG" sz="1600" spc="-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عدد </a:t>
                      </a:r>
                      <a:r>
                        <a:rPr lang="ar-EG" sz="1600" spc="-10" baseline="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سواتل</a:t>
                      </a:r>
                      <a:r>
                        <a:rPr lang="ar-EG" sz="1600" spc="-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حمولات استكشاف الأرض العاملة والكمية المقابلة من الصور المرسلة واستبانتها وحجم البيانات التي يتم </a:t>
                      </a:r>
                      <a:r>
                        <a:rPr lang="ar-EG" sz="1600" spc="-10" baseline="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ن‍زيلها</a:t>
                      </a:r>
                      <a:r>
                        <a:rPr lang="ar-EG" sz="1600" spc="-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en-GB" sz="1100" spc="-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</a:t>
                      </a:r>
                      <a:r>
                        <a:rPr lang="en-GB" sz="1100" spc="-10" baseline="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Tbytes</a:t>
                      </a:r>
                      <a:r>
                        <a:rPr lang="en-GB" sz="1100" spc="-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)</a:t>
                      </a:r>
                      <a:endParaRPr lang="en-US" sz="1400" spc="-10" baseline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قرارات جمعية الاتصالات الراديوية، القرارات 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ITU-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توصيات وتقارير قطاع الاتصالات الراديوية (بما في ذلك تقرير الاجتماع التحضيري للمؤتمر) والكتيب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المشورة من الفريق الاستشاري للاتصالات الراديوي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790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GB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3.R</a:t>
            </a:r>
            <a:r>
              <a:rPr lang="ar-SA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نشر المعلومات)</a:t>
            </a:r>
            <a:endParaRPr lang="en-US" sz="3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4</a:t>
            </a:fld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080675"/>
              </p:ext>
            </p:extLst>
          </p:nvPr>
        </p:nvGraphicFramePr>
        <p:xfrm>
          <a:off x="493340" y="1268760"/>
          <a:ext cx="8039100" cy="20288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.R</a:t>
                      </a:r>
                      <a:r>
                        <a:rPr lang="ar-EG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شجيع 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كتساب وتقاسم المعارف والدراية الفنية في مجال الاتصالات الراديوي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spc="-2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3.R</a:t>
                      </a:r>
                      <a:r>
                        <a:rPr lang="ar-SY" sz="1600" spc="-2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المعارف والدراية الفنية بشأن لوائح الراديو والقواعد الإجرائية والاتفاقات الإقليمية والتوصيات وأفضل الممارسات المتعلقة باستعمال الطيف</a:t>
                      </a:r>
                      <a:r>
                        <a:rPr lang="ar-SY" sz="1100" spc="-2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endParaRPr lang="en-US" sz="1400" spc="-20" baseline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3.R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المشاركة في أنشطة قطاع الاتصالات الراديوية (بوسائل منها المشاركة عن بُعد) وخاصة مشاركة البلدان النامية</a:t>
                      </a:r>
                      <a:r>
                        <a:rPr lang="ar-SY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منشورات قطاع الاتصالات الراديوي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تقديم المساعدة إلى الأعضاء، خاصةً البلدان النامية وأقل البلدان نمواً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</a:t>
                      </a:r>
                      <a:r>
                        <a:rPr lang="ar-SY" sz="1600" spc="-3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تصال/الدعم في مجال أنشطة التنمية</a:t>
                      </a:r>
                      <a:endParaRPr lang="en-US" sz="1400" spc="-30" baseline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حلقات دراسية وورش عمل 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/>
                      </a:r>
                      <a:b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</a:b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فعاليات 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أخرى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1333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GB" sz="4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.T</a:t>
            </a:r>
            <a:r>
              <a:rPr lang="ar-SA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وضع المعايير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5</a:t>
            </a:fld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7826931"/>
              </p:ext>
            </p:extLst>
          </p:nvPr>
        </p:nvGraphicFramePr>
        <p:xfrm>
          <a:off x="493340" y="1268760"/>
          <a:ext cx="8039100" cy="48736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.T</a:t>
                      </a:r>
                      <a:r>
                        <a:rPr lang="ar-EG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ضع 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عايير دولية غير تمييزية (توصيات قطاع تقييس الاتصالات) في الوقت المناسب، وتعزيز قابلية التشغيل البيني وتحسين أداء المعدات والشبكات والخدمات والتطبيق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1.T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استعمال توصيات قطاع تقييس 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1.T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حسين الامتثال لتوصيات قطاع تقييس 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1.T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حسين المعايير في مجال التكنولوجيات والخدمات الجديد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قرارات وتوصيات وآراء الجمعية العالمية لتقييس الاتصالات 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WTSA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الاجتماعات التشاورية الإقليمية للجمعية العالمية لتقييس 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المشورة والقرارات الصادرة عن الفريق الاستشاري 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تقييس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تصالات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TSAG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توصيات قطاع تقييس الاتصالات والنتائج ذات الصلة للجان دراسات قطاع تقييس 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المساعدة والتعاون لقطاع تقييس الاتصالات بوجه عام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قاعدة بيانات المطابق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مراكز اختبار قابلية التشغيل البيني والأحداث المتصلة بها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تطوير مجموعات الاختبار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403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GB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.T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سد الفجوة في مجال التقييس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6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5256513"/>
              </p:ext>
            </p:extLst>
          </p:nvPr>
        </p:nvGraphicFramePr>
        <p:xfrm>
          <a:off x="467544" y="1268760"/>
          <a:ext cx="8039100" cy="29686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.T</a:t>
                      </a:r>
                      <a:r>
                        <a:rPr lang="en-GB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شجيع 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شاركة الفعّالة للأعضاء وخاصة البلدان النامية في تحديد معايير دولية غير تمييزية واعتمادها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(توصيات قطاع تقييس الاتصالات) بغية سد الفجوة </a:t>
                      </a:r>
                      <a:r>
                        <a:rPr lang="ar-EG" sz="16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قييسي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2.T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المشاركة في عملية التقييس داخل قطاع تقييس الاتصالات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،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/>
                      </a:r>
                      <a:b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</a:b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ما 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في ذلك حضور الاجتماعات وتقديم المساهمات وشغل المناصب القيادية واستضافة الاجتماعات/ورش العمل، لا سيما مشاركة البلدان النامي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2.T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أعضاء قطاع تقييس الاتصالات بما في ذلك أعضاء القطاع والمنتسبون والهيئات الأكاديمي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سد الفجوة </a:t>
                      </a:r>
                      <a:r>
                        <a:rPr lang="ar-SY" sz="16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قييسية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(مثل المشاركة عن بُعد والمنح وإنشاء أفرقة إقليمية للجان الدراسات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ورش عمل وحلقات دراسية بما في ذلك أنشطة تدريبية مقدمة عبر شبكة الإنترنت أو خارجها، لاستكمال العمل على بناء القدرات لسدّ الفجوة </a:t>
                      </a:r>
                      <a:r>
                        <a:rPr lang="ar-SY" sz="16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قييسية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الذي يقوم به قطاع تنمية 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التوعية والترويج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97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3.T</a:t>
            </a:r>
            <a:r>
              <a:rPr lang="ar-EG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موارد الاتصالات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7</a:t>
            </a:fld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5583448"/>
              </p:ext>
            </p:extLst>
          </p:nvPr>
        </p:nvGraphicFramePr>
        <p:xfrm>
          <a:off x="467544" y="1268760"/>
          <a:ext cx="8039100" cy="18764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.T</a:t>
                      </a:r>
                      <a:r>
                        <a:rPr lang="en-US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ضمان 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كفاءة توزيع وإدارة موارد الترقيم والتسمية والعنونة وتعرف الهوية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للاتصالات الدولية وفقاً لتوصيات قطاع تقييس الاتصالات وإجراءاته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3.T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التوزيع الفوري والدقيق لموارد الترقيم والتسمية والعنونة وتعرف الهوية للاتصالات الدولية على النحو المحدد في التوصيات ذات الصل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قواعد بيانات مكتب تقييس الاتصالات ذات الصل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توزيع وإدارة موارد الترقيم والتسمية والعنونة وتعرف الهوية للاتصالات الدولية طبقاً لتوصيات وإجراءات قطاع تقييس 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2354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4.T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تبادل المعارف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8</a:t>
            </a:fld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5721045"/>
              </p:ext>
            </p:extLst>
          </p:nvPr>
        </p:nvGraphicFramePr>
        <p:xfrm>
          <a:off x="493340" y="1340768"/>
          <a:ext cx="8039100" cy="16986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.T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100" kern="1200" dirty="0" smtClean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Y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شجيع </a:t>
                      </a:r>
                      <a:r>
                        <a:rPr lang="ar-SY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كتساب وتقاسم المعارف والدراية الفنية في مجال أنشطة التقييس الجارية في قطاع تقييس الاتصالات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4.T</a:t>
                      </a:r>
                      <a:r>
                        <a:rPr lang="ar-SY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المعارف بمعايير قطاع تقييس الاتصالات وبأفضل الممارسات في تنفيذ هذه المعايير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4.T</a:t>
                      </a:r>
                      <a:r>
                        <a:rPr lang="ar-SY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المشاركة في أنشطة التقييس داخل قطاع تقييس الاتصالات وزيادة الوعي بأهمية معايير قطاع تقييس الاتصالات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4.T</a:t>
                      </a:r>
                      <a:r>
                        <a:rPr lang="ar-SY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زيادة إبراز أنشطة قطاع تقييس الاتصالات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منشورات قطاع تقييس الاتصالات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منشورات قواعد البيانات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التوعية والترويج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النشرة التشغيلية </a:t>
                      </a:r>
                      <a:r>
                        <a:rPr lang="ar-SY" sz="1600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لات‍حاد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8745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Autofit/>
          </a:bodyPr>
          <a:lstStyle/>
          <a:p>
            <a:pPr algn="r" rtl="1"/>
            <a:r>
              <a:rPr lang="en-US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5.T</a:t>
            </a: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التعاون مع هيئات التقييس)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9</a:t>
            </a:fld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2859419"/>
              </p:ext>
            </p:extLst>
          </p:nvPr>
        </p:nvGraphicFramePr>
        <p:xfrm>
          <a:off x="467544" y="1268760"/>
          <a:ext cx="8039100" cy="23590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+mn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5.T</a:t>
                      </a:r>
                      <a:r>
                        <a:rPr lang="ar-EG" sz="1100" baseline="0" dirty="0" smtClean="0"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en-US" sz="1600" dirty="0" smtClean="0"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سيع </a:t>
                      </a:r>
                      <a:r>
                        <a:rPr lang="ar-SA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عاون وتيسيره مع هيئات التقييس الدولية والإقليمية والوطنية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5.T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التواصل مع المنظمات الأخرى المعنية بوضع المعايير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5.T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خفض عدد المعايير المتضارب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5.T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عدد مذكرات التفاهم/اتفاقات التعاون مع المنظمات الأخرى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-5.T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عدد المنظمات المؤهلة بموجب التوصيات 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ITU-T </a:t>
                      </a: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A.4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/>
                      </a:r>
                      <a:b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</a:b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ITU-T A.5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ITU-T A.6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5-5.T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زيادة عدد ورش العمل/الأحداث المنظمة بالاشتراك مع </a:t>
                      </a:r>
                      <a:r>
                        <a:rPr lang="en-US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/>
                      </a:r>
                      <a:br>
                        <a:rPr lang="en-US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</a:b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ظمات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أخرى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مذكرات التفاهم 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MoU)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en-US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/>
                      </a:r>
                      <a:br>
                        <a:rPr lang="en-US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</a:b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تفاقات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عاون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المؤهلات المطلوبة بموجب التوصيات 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ITU‑T A.4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ITU-T A.5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ITU-T A.6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23749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-	ورش العمل/الأحداث المنظمة </a:t>
                      </a:r>
                      <a:r>
                        <a:rPr lang="en-US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/>
                      </a:r>
                      <a:br>
                        <a:rPr lang="en-US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</a:b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شكل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شترك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4305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Up Arrow 38"/>
          <p:cNvSpPr/>
          <p:nvPr/>
        </p:nvSpPr>
        <p:spPr>
          <a:xfrm>
            <a:off x="3059832" y="4947970"/>
            <a:ext cx="3096344" cy="301087"/>
          </a:xfrm>
          <a:prstGeom prst="upArrow">
            <a:avLst>
              <a:gd name="adj1" fmla="val 50000"/>
              <a:gd name="adj2" fmla="val 70247"/>
            </a:avLst>
          </a:prstGeom>
          <a:solidFill>
            <a:schemeClr val="accent1">
              <a:lumMod val="40000"/>
              <a:lumOff val="6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rtl="1"/>
            <a:r>
              <a:rPr lang="ar-SA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إطار الاستراتيجي للاتحاد للفترة </a:t>
            </a:r>
            <a:r>
              <a:rPr lang="en-US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19-2016</a:t>
            </a: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47565" y="5314257"/>
            <a:ext cx="7848872" cy="11390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rtl="1">
              <a:lnSpc>
                <a:spcPct val="80000"/>
              </a:lnSpc>
            </a:pPr>
            <a:r>
              <a:rPr lang="ar-EG" sz="1600" b="1" dirty="0" smtClean="0">
                <a:solidFill>
                  <a:schemeClr val="tx2"/>
                </a:solidFill>
                <a:cs typeface="Traditional Arabic" panose="02020603050405020304" pitchFamily="18" charset="-78"/>
              </a:rPr>
              <a:t>الاتحاد الدولي للاتصالات</a:t>
            </a:r>
            <a:endParaRPr lang="en-US" sz="1600" b="1" dirty="0" smtClean="0">
              <a:solidFill>
                <a:schemeClr val="tx2"/>
              </a:solidFill>
              <a:cs typeface="Traditional Arabic" panose="02020603050405020304" pitchFamily="18" charset="-78"/>
            </a:endParaRPr>
          </a:p>
          <a:p>
            <a:pPr algn="r" rtl="1">
              <a:lnSpc>
                <a:spcPct val="80000"/>
              </a:lnSpc>
            </a:pPr>
            <a:r>
              <a:rPr lang="ar-EG" sz="1600" b="1" dirty="0">
                <a:solidFill>
                  <a:schemeClr val="tx2"/>
                </a:solidFill>
                <a:cs typeface="Traditional Arabic" panose="02020603050405020304" pitchFamily="18" charset="-78"/>
              </a:rPr>
              <a:t>الأمانة</a:t>
            </a:r>
            <a:endParaRPr lang="en-US" sz="1600" b="1" dirty="0">
              <a:solidFill>
                <a:schemeClr val="tx2"/>
              </a:solidFill>
              <a:cs typeface="Traditional Arabic" panose="02020603050405020304" pitchFamily="18" charset="-7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47565" y="4357745"/>
            <a:ext cx="7848872" cy="505445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b="1" dirty="0"/>
          </a:p>
        </p:txBody>
      </p:sp>
      <p:sp>
        <p:nvSpPr>
          <p:cNvPr id="7" name="Rectangle 6"/>
          <p:cNvSpPr/>
          <p:nvPr/>
        </p:nvSpPr>
        <p:spPr>
          <a:xfrm>
            <a:off x="647563" y="2468692"/>
            <a:ext cx="7848873" cy="731821"/>
          </a:xfrm>
          <a:prstGeom prst="rect">
            <a:avLst/>
          </a:prstGeom>
          <a:noFill/>
          <a:ln w="3175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89663" algn="r" defTabSz="809625" rtl="1">
              <a:lnSpc>
                <a:spcPct val="80000"/>
              </a:lnSpc>
              <a:spcAft>
                <a:spcPts val="600"/>
              </a:spcAft>
            </a:pPr>
            <a:r>
              <a:rPr lang="ar-SA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غايات </a:t>
            </a:r>
            <a:r>
              <a:rPr lang="ar-SA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راتيجية </a:t>
            </a:r>
            <a:r>
              <a:rPr lang="ar-EG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مقاصد</a:t>
            </a:r>
            <a:endParaRPr lang="en-US" b="1" dirty="0">
              <a:solidFill>
                <a:srgbClr val="44546A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47564" y="3317495"/>
            <a:ext cx="1908000" cy="661191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1"/>
            <a:r>
              <a:rPr lang="ar-SA" sz="15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قطاع الاتصالات الراديوية بالاتحاد</a:t>
            </a:r>
            <a:r>
              <a:rPr lang="en-US" sz="1500" b="1" dirty="0" smtClean="0"/>
              <a:t/>
            </a:r>
            <a:br>
              <a:rPr lang="en-US" sz="1500" b="1" dirty="0" smtClean="0"/>
            </a:br>
            <a:r>
              <a:rPr lang="ar-SA" sz="15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</a:t>
            </a:r>
            <a:r>
              <a:rPr lang="ar-SA" sz="15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نتائج</a:t>
            </a:r>
            <a:endParaRPr lang="en-US" sz="1500" b="1" dirty="0"/>
          </a:p>
        </p:txBody>
      </p:sp>
      <p:sp>
        <p:nvSpPr>
          <p:cNvPr id="9" name="Rectangle 8"/>
          <p:cNvSpPr/>
          <p:nvPr/>
        </p:nvSpPr>
        <p:spPr>
          <a:xfrm>
            <a:off x="2627996" y="3317495"/>
            <a:ext cx="1908000" cy="672447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1"/>
            <a:r>
              <a:rPr lang="ar-SA" sz="15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قطاع تقييس الاتصالات بالاتحاد الأهداف </a:t>
            </a:r>
            <a:r>
              <a:rPr lang="ar-SA" sz="15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نتائج</a:t>
            </a:r>
            <a:endParaRPr lang="en-US" sz="1500" b="1" dirty="0"/>
          </a:p>
        </p:txBody>
      </p:sp>
      <p:sp>
        <p:nvSpPr>
          <p:cNvPr id="10" name="Rectangle 9"/>
          <p:cNvSpPr/>
          <p:nvPr/>
        </p:nvSpPr>
        <p:spPr>
          <a:xfrm>
            <a:off x="4608004" y="3317496"/>
            <a:ext cx="1908000" cy="67382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1"/>
            <a:r>
              <a:rPr lang="ar-SA" sz="15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قطاع تنمية الاتصالات بالاتحاد الأهداف </a:t>
            </a:r>
            <a:r>
              <a:rPr lang="ar-SA" sz="15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نتائج</a:t>
            </a:r>
            <a:endParaRPr lang="en-US" sz="1500" b="1" dirty="0"/>
          </a:p>
        </p:txBody>
      </p:sp>
      <p:sp>
        <p:nvSpPr>
          <p:cNvPr id="11" name="Rectangle 10"/>
          <p:cNvSpPr/>
          <p:nvPr/>
        </p:nvSpPr>
        <p:spPr>
          <a:xfrm>
            <a:off x="6588436" y="3317496"/>
            <a:ext cx="1908000" cy="66119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300"/>
              </a:lnSpc>
              <a:spcBef>
                <a:spcPts val="300"/>
              </a:spcBef>
              <a:spcAft>
                <a:spcPts val="300"/>
              </a:spcAft>
            </a:pPr>
            <a:r>
              <a:rPr lang="ar-SA" sz="15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والنتائج المشتركة بين قطاعات الاتحاد </a:t>
            </a:r>
            <a:endParaRPr lang="ar-EG" sz="1500" b="1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ctr">
              <a:lnSpc>
                <a:spcPts val="1300"/>
              </a:lnSpc>
              <a:spcBef>
                <a:spcPts val="300"/>
              </a:spcBef>
              <a:spcAft>
                <a:spcPts val="300"/>
              </a:spcAft>
            </a:pPr>
            <a:r>
              <a:rPr lang="ar-SA" sz="15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والنتائج</a:t>
            </a:r>
            <a:endParaRPr lang="en-US" sz="1500" b="1" dirty="0"/>
          </a:p>
        </p:txBody>
      </p:sp>
      <p:sp>
        <p:nvSpPr>
          <p:cNvPr id="12" name="Isosceles Triangle 11"/>
          <p:cNvSpPr/>
          <p:nvPr/>
        </p:nvSpPr>
        <p:spPr>
          <a:xfrm>
            <a:off x="647564" y="1616520"/>
            <a:ext cx="7848872" cy="792088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ar-SA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رؤية الاتحاد ورسالته</a:t>
            </a:r>
            <a:endParaRPr lang="en-US" b="1" dirty="0"/>
          </a:p>
        </p:txBody>
      </p:sp>
      <p:sp>
        <p:nvSpPr>
          <p:cNvPr id="13" name="Arc 12"/>
          <p:cNvSpPr/>
          <p:nvPr/>
        </p:nvSpPr>
        <p:spPr>
          <a:xfrm rot="10800000">
            <a:off x="1446896" y="5284268"/>
            <a:ext cx="5789400" cy="1121538"/>
          </a:xfrm>
          <a:prstGeom prst="arc">
            <a:avLst>
              <a:gd name="adj1" fmla="val 11627524"/>
              <a:gd name="adj2" fmla="val 21527746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Arc 13"/>
          <p:cNvSpPr/>
          <p:nvPr/>
        </p:nvSpPr>
        <p:spPr>
          <a:xfrm rot="10800000">
            <a:off x="3296818" y="5356281"/>
            <a:ext cx="3687449" cy="1008112"/>
          </a:xfrm>
          <a:prstGeom prst="arc">
            <a:avLst>
              <a:gd name="adj1" fmla="val 10933070"/>
              <a:gd name="adj2" fmla="val 21513184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Arc 14"/>
          <p:cNvSpPr/>
          <p:nvPr/>
        </p:nvSpPr>
        <p:spPr>
          <a:xfrm rot="10800000">
            <a:off x="5166557" y="5347815"/>
            <a:ext cx="1817709" cy="915421"/>
          </a:xfrm>
          <a:prstGeom prst="arc">
            <a:avLst>
              <a:gd name="adj1" fmla="val 14794445"/>
              <a:gd name="adj2" fmla="val 21298785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755996" y="4456218"/>
            <a:ext cx="7632448" cy="323165"/>
            <a:chOff x="827984" y="4392000"/>
            <a:chExt cx="7632448" cy="323165"/>
          </a:xfrm>
        </p:grpSpPr>
        <p:sp>
          <p:nvSpPr>
            <p:cNvPr id="17" name="TextBox 16"/>
            <p:cNvSpPr txBox="1"/>
            <p:nvPr/>
          </p:nvSpPr>
          <p:spPr>
            <a:xfrm>
              <a:off x="6660432" y="4392000"/>
              <a:ext cx="1800000" cy="323165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Ins="36000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ar-SA" sz="15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نواتج المشتركة بين القطاعات</a:t>
              </a:r>
              <a:endParaRPr lang="en-US" sz="1500" b="1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716216" y="4392000"/>
              <a:ext cx="1800000" cy="323165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ar-SA" sz="15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نواتج قطاع تنمية الاتصالات </a:t>
              </a:r>
              <a:endParaRPr lang="en-US" sz="1500" b="1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772000" y="4392000"/>
              <a:ext cx="1800000" cy="276999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pPr rtl="1">
                <a:lnSpc>
                  <a:spcPct val="80000"/>
                </a:lnSpc>
                <a:spcBef>
                  <a:spcPts val="600"/>
                </a:spcBef>
                <a:spcAft>
                  <a:spcPts val="0"/>
                </a:spcAft>
              </a:pPr>
              <a:r>
                <a:rPr lang="ar-SA" sz="15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نواتج قطاع تقييس الاتصالات </a:t>
              </a:r>
              <a:endParaRPr lang="en-US" sz="11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827984" y="4392000"/>
              <a:ext cx="1800000" cy="288541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pPr rtl="1">
                <a:lnSpc>
                  <a:spcPct val="80000"/>
                </a:lnSpc>
                <a:spcBef>
                  <a:spcPts val="600"/>
                </a:spcBef>
                <a:spcAft>
                  <a:spcPts val="0"/>
                </a:spcAft>
              </a:pPr>
              <a:r>
                <a:rPr lang="ar-SA" sz="15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نواتج قطاع الاتصالات الراديوية </a:t>
              </a:r>
              <a:endParaRPr lang="en-US" sz="15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endParaRPr>
            </a:p>
          </p:txBody>
        </p:sp>
      </p:grpSp>
      <p:sp>
        <p:nvSpPr>
          <p:cNvPr id="21" name="Arc 20"/>
          <p:cNvSpPr/>
          <p:nvPr/>
        </p:nvSpPr>
        <p:spPr>
          <a:xfrm rot="10800000">
            <a:off x="6408204" y="5500320"/>
            <a:ext cx="652071" cy="550640"/>
          </a:xfrm>
          <a:prstGeom prst="arc">
            <a:avLst>
              <a:gd name="adj1" fmla="val 13997088"/>
              <a:gd name="adj2" fmla="val 20243020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Up Arrow 21"/>
          <p:cNvSpPr/>
          <p:nvPr/>
        </p:nvSpPr>
        <p:spPr>
          <a:xfrm>
            <a:off x="3023828" y="4056658"/>
            <a:ext cx="3096344" cy="301087"/>
          </a:xfrm>
          <a:prstGeom prst="upArrow">
            <a:avLst>
              <a:gd name="adj1" fmla="val 50000"/>
              <a:gd name="adj2" fmla="val 70247"/>
            </a:avLst>
          </a:prstGeom>
          <a:solidFill>
            <a:schemeClr val="accent1">
              <a:lumMod val="40000"/>
              <a:lumOff val="6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6768244" y="6071367"/>
            <a:ext cx="1620200" cy="460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ar-SA" sz="1400" b="1" dirty="0">
                <a:solidFill>
                  <a:schemeClr val="accent1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عوامل </a:t>
            </a:r>
            <a:r>
              <a:rPr lang="ar-SA" sz="1400" b="1" dirty="0" err="1">
                <a:solidFill>
                  <a:schemeClr val="accent1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تمكينية</a:t>
            </a:r>
            <a:endParaRPr lang="en-US" sz="1400" b="1" dirty="0">
              <a:solidFill>
                <a:schemeClr val="accent1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>
              <a:lnSpc>
                <a:spcPct val="80000"/>
              </a:lnSpc>
            </a:pPr>
            <a:r>
              <a:rPr lang="ar-SA" sz="1400" b="1" dirty="0">
                <a:solidFill>
                  <a:schemeClr val="accent1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خدمات الدعم</a:t>
            </a:r>
            <a:endParaRPr lang="en-US" sz="1400" b="1" dirty="0">
              <a:solidFill>
                <a:schemeClr val="accent1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75389" y="2480617"/>
            <a:ext cx="1250094" cy="719566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37341" y="2481787"/>
            <a:ext cx="1252107" cy="717226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01936" y="2480400"/>
            <a:ext cx="1250846" cy="72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TextBox 34"/>
          <p:cNvSpPr txBox="1"/>
          <p:nvPr/>
        </p:nvSpPr>
        <p:spPr>
          <a:xfrm>
            <a:off x="791580" y="5525716"/>
            <a:ext cx="1310640" cy="2754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rtl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</a:pPr>
            <a:r>
              <a:rPr lang="ar-SA" sz="1400" b="1" spc="-60" dirty="0">
                <a:solidFill>
                  <a:schemeClr val="tx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كتب الاتصالات الراديوية</a:t>
            </a:r>
            <a:endParaRPr lang="en-US" sz="1400" b="1" spc="-60" dirty="0">
              <a:solidFill>
                <a:schemeClr val="tx2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483768" y="5525716"/>
            <a:ext cx="1310640" cy="2754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pPr rtl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</a:pPr>
            <a:r>
              <a:rPr lang="ar-SA" sz="1400" spc="-3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كتب تقييس </a:t>
            </a:r>
            <a:r>
              <a:rPr lang="ar-SA" sz="1400" spc="-3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صالات</a:t>
            </a:r>
            <a:endParaRPr lang="en-US" sz="1050" spc="-30" dirty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211960" y="5527090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ar-SA" sz="1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كتب تنمية الاتصالات</a:t>
            </a:r>
            <a:endParaRPr lang="en-US" sz="1400" dirty="0"/>
          </a:p>
        </p:txBody>
      </p:sp>
      <p:sp>
        <p:nvSpPr>
          <p:cNvPr id="38" name="TextBox 37"/>
          <p:cNvSpPr txBox="1"/>
          <p:nvPr/>
        </p:nvSpPr>
        <p:spPr>
          <a:xfrm>
            <a:off x="5868144" y="5527090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ar-SA" sz="1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مانة العامة</a:t>
            </a:r>
            <a:endParaRPr lang="en-US" sz="1400" dirty="0"/>
          </a:p>
        </p:txBody>
      </p:sp>
      <p:pic>
        <p:nvPicPr>
          <p:cNvPr id="32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61479" y="2468692"/>
            <a:ext cx="1253930" cy="737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8763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US" sz="4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.D</a:t>
            </a:r>
            <a:r>
              <a:rPr lang="ar-EG" dirty="0" smtClean="0">
                <a:latin typeface="Traditional Arabic" panose="02020603050405020304" pitchFamily="18" charset="-78"/>
                <a:ea typeface="Times New Roman" panose="02020603050405020304" pitchFamily="18" charset="0"/>
              </a:rPr>
              <a:t> </a:t>
            </a:r>
            <a:r>
              <a:rPr lang="ar-SA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(</a:t>
            </a:r>
            <a:r>
              <a:rPr lang="ar-SA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نسيق)</a:t>
            </a:r>
            <a:endParaRPr lang="en-US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400" b="1" i="0" u="none" strike="noStrike" cap="none" smtClea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0</a:t>
            </a:fld>
            <a:endParaRPr lang="en-US" sz="1400" b="1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7214930"/>
              </p:ext>
            </p:extLst>
          </p:nvPr>
        </p:nvGraphicFramePr>
        <p:xfrm>
          <a:off x="493340" y="1054189"/>
          <a:ext cx="8039100" cy="54832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.D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نسيق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عزيز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عاون الدولي والاتفاق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شأن مسائل تنمية الاتصالات/تكنولوجيا المعلومات و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1.D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عزيز استعراض مشروع مساهمة قطاع تنمية الاتصالات في مشروع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خطة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ستراتيجية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للاتحاد، و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إعلان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المؤتمر العالمي لتنمية الاتصالات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WTDC)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، و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خطة عمل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ؤتمر العالمي لتنمية الاتصالات وزيادة مستوى الاتفاق بهذا الشأن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1.D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قييم تنفيذ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خطة العمل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تنفيذ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خطة عمل القمة العالمية لمجتمع المعلومات</a:t>
                      </a:r>
                      <a:endParaRPr lang="en-US" sz="1400" b="1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1.D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عزيز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قاسُم المعارف والحوار والشراكة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ين الدول الأعضاء وأعضاء القطاع والمنتسبين والهيئات الأكاديمية وسائر أصحاب المصلحة بشأن قضايا الاتصالات/تكنولوجيا المعلومات و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1.D</a:t>
                      </a:r>
                      <a:r>
                        <a:rPr lang="en-US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ؤتمر </a:t>
                      </a:r>
                      <a:r>
                        <a:rPr kumimoji="0" lang="ar-SA" sz="16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عالمي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لتنمية الاتصالات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</a:t>
                      </a:r>
                      <a:r>
                        <a:rPr lang="en-GB" sz="11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WTDC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)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، والتقرير النهائي للمؤتمر العالمي لتنمية 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1.D</a:t>
                      </a:r>
                      <a:r>
                        <a:rPr lang="en-US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جتماعات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حضيرية الإقليمية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</a:t>
                      </a:r>
                      <a:r>
                        <a:rPr lang="en-GB" sz="11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RPM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)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، والتقارير النهائية للاجتماعات التحضيرية الإقليمي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1.D</a:t>
                      </a:r>
                      <a:r>
                        <a:rPr lang="en-US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فريق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ستشاري لتنمية الاتصالات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</a:t>
                      </a:r>
                      <a:r>
                        <a:rPr lang="en-GB" sz="11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TDAG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)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، وتقارير الفريق الاستشاري لتنمية الاتصالات إلى مدير مكتب تنمية الاتصالات والمؤتمر العالمي لتنمية الاتصالات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WTDC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-1.D</a:t>
                      </a:r>
                      <a:r>
                        <a:rPr lang="en-US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جان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دراسات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، ومبادئ توجيهية وتوصيات وتقارير لجان الدراس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5-1.D</a:t>
                      </a:r>
                      <a:r>
                        <a:rPr lang="en-US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صات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لتنسيق الإقليمي بما في ذلك منتديات التنمية الإقليمية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</a:t>
                      </a:r>
                      <a:r>
                        <a:rPr lang="en-GB" sz="11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RDF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)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[جديد]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0" indent="-237490"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6-1.D</a:t>
                      </a:r>
                      <a:r>
                        <a:rPr lang="en-US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صات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شراكات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المنتجات والخدم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4829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94586" y="194733"/>
            <a:ext cx="7612058" cy="818362"/>
          </a:xfrm>
        </p:spPr>
        <p:txBody>
          <a:bodyPr>
            <a:noAutofit/>
          </a:bodyPr>
          <a:lstStyle/>
          <a:p>
            <a:pPr algn="r" rtl="1"/>
            <a:r>
              <a:rPr lang="en-US" sz="24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2.D</a:t>
            </a:r>
            <a:r>
              <a:rPr lang="ar-EG" sz="2400" dirty="0" smtClean="0">
                <a:ea typeface="Times New Roman" panose="02020603050405020304" pitchFamily="18" charset="0"/>
              </a:rPr>
              <a:t> </a:t>
            </a:r>
            <a:r>
              <a:rPr lang="ar-EG" sz="2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(</a:t>
            </a:r>
            <a:r>
              <a:rPr lang="ar-SA" sz="28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بنية تحتية حديثة وآمنة </a:t>
            </a:r>
            <a:r>
              <a:rPr lang="ar-SA" sz="2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للاتصالات/تكنولوجيا المعلومات والاتصالات)</a:t>
            </a:r>
            <a:endParaRPr lang="en-US" sz="2400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400" b="1" i="0" u="none" strike="noStrike" cap="none" smtClea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1</a:t>
            </a:fld>
            <a:endParaRPr lang="en-US"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127659"/>
              </p:ext>
            </p:extLst>
          </p:nvPr>
        </p:nvGraphicFramePr>
        <p:xfrm>
          <a:off x="467544" y="1268760"/>
          <a:ext cx="8039100" cy="37306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.D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نية تحتية حديثة وآمنة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لاتصالات/تكنولوجيا المعلومات والاتصالات: تعزيز تنمية البنية التحتية والخدمات بما في ذلك بناء الثقة والأمن في استخدام الاتصالات/تكنولوجيا المعلومات و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2.D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وخدمات تتعلق ب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بنية التحتية والخدمات الخاصة بالاتصالات/تكنولوجيا المعلومات والاتصالات بما في ذلك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نطاق العريض والإذاعة وسد الفجوة الرقمية في مجال </a:t>
                      </a:r>
                      <a:r>
                        <a:rPr lang="ar-SA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قييس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مطابقة وقابلية التشغيل البيني وإدارة الطيف</a:t>
                      </a:r>
                      <a:endParaRPr lang="en-US" sz="1400" b="1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2.D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حسين قدرة أعضاء الاتحاد على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صدي بكفاءة للتهديدات </a:t>
                      </a:r>
                      <a:r>
                        <a:rPr lang="ar-SA" sz="1600" b="1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سيبرانية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تطوير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ستراتيجيات وقدرات الأمن </a:t>
                      </a:r>
                      <a:r>
                        <a:rPr lang="ar-SA" sz="1600" b="1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سيبراني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الوطنية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،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/>
                      </a:r>
                      <a:b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</a:b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ما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في ذلك بناء 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قدر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2.D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عزيز قدرة الدول الأعضاء على استخدام الاتصالات/تكنولوجيا المعلومات والاتصالات من أجل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حد من مخاطر الكوارث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من أجل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تصالات في حالات </a:t>
                      </a:r>
                      <a:r>
                        <a:rPr lang="ar-SA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طوارئ</a:t>
                      </a:r>
                      <a:endParaRPr lang="en-US" sz="1400" b="1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2.D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خدمات تتعلق ب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بنية التحتية والخدمات الخاصة بالاتصالات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/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كنولوجيا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علومات والاتصالات بما في ذلك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نطاق العريض والإذاعة وسد الفجوة الرقمية في مجال </a:t>
                      </a:r>
                      <a:r>
                        <a:rPr lang="ar-SA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قييس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مطابقة وقابلية التشغيل البيني وإدارة الطيف</a:t>
                      </a:r>
                      <a:endParaRPr lang="en-US" sz="1400" b="1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2.D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خدمات بشأن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ناء الثقة والأمن في استخدام الاتصالات</a:t>
                      </a:r>
                      <a:r>
                        <a:rPr lang="ar-SA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/</a:t>
                      </a:r>
                      <a:r>
                        <a:rPr lang="ar-EG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كنولوجيا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علومات والاتصالات</a:t>
                      </a:r>
                      <a:endParaRPr lang="en-US" sz="1400" b="1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spc="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2.D</a:t>
                      </a:r>
                      <a:r>
                        <a:rPr lang="ar-EG" sz="1600" spc="0" baseline="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spc="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</a:t>
                      </a:r>
                      <a:r>
                        <a:rPr lang="ar-EG" sz="16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خدمات بشأن </a:t>
                      </a:r>
                      <a:r>
                        <a:rPr lang="ar-SA" sz="1600" b="1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حد من مخاطر الكوارث والاتصالات في حالات الطوارئ</a:t>
                      </a:r>
                      <a:endParaRPr lang="en-US" sz="1400" b="1" spc="0" baseline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563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3.D</a:t>
            </a:r>
            <a:r>
              <a:rPr lang="ar-EG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بيئة </a:t>
            </a:r>
            <a:r>
              <a:rPr lang="ar-EG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مكينية</a:t>
            </a:r>
            <a:r>
              <a:rPr lang="ar-EG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400" b="1" i="0" u="none" strike="noStrike" cap="none" smtClea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2</a:t>
            </a:fld>
            <a:endParaRPr lang="en-US" sz="1400" b="1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9838144"/>
              </p:ext>
            </p:extLst>
          </p:nvPr>
        </p:nvGraphicFramePr>
        <p:xfrm>
          <a:off x="467544" y="1268760"/>
          <a:ext cx="8039100" cy="35528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.D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يئة </a:t>
                      </a:r>
                      <a:r>
                        <a:rPr lang="ar-SA" sz="16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مكينية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عزيز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يئة تنظيمية </a:t>
                      </a:r>
                      <a:r>
                        <a:rPr lang="ar-SA" sz="1600" b="1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سياساتية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ؤاتية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للتنمية المستدامة للاتصالات/تكنولوجيا المعلومات و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3.D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عزيز قدرة الدول الأعضاء على تطوير أطر </a:t>
                      </a:r>
                      <a:r>
                        <a:rPr lang="ar-SA" sz="16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سياساتية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قانونية وتنظيمية </a:t>
                      </a:r>
                      <a:r>
                        <a:rPr lang="ar-SA" sz="1600" dirty="0" err="1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ؤاتية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لتنمية الاتصالات/تكنولوجيا المعلومات والاتصالات</a:t>
                      </a:r>
                      <a:r>
                        <a:rPr lang="ar-SA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3.D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عزيز قدرة الدول الأعضاء على إنتاج إحصاءات لتكنولوجيا المعلومات والاتصالات عالية الجودة وقابلة للمقارنة دولياً استناداً إلى معايير ومنهجيات متفق عليها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3.D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حسين القدرات البشرية والمؤسسية لأعضاء الاتحاد من أجل الاستفادة من كامل إمكانات الاتصالات/تكنولوجيا المعلومات و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-3.D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عزيز قدرات أعضاء الاتحاد من أجل إدراج الابتكار في 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تصالات/تكنولوجيا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علومات والاتصالات في برامج التنمية الوطني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3.D</a:t>
                      </a:r>
                      <a:r>
                        <a:rPr lang="ar-EG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خدمات بشأن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سياسات العامة واللوائح التنظيمية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خاصة بالاتصالات/تكنولوجيا المعلومات و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3.D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خدمات بشأن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إحصاءات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الاتصالات/تكنولوجيا المعلومات و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3.D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خدمات بشأن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ناء القدرات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بشرية والمؤسسي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-3.D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خدمات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شأن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بتكار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في مجال الاتصالات/تكنولوجيا المعلومات و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8456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4.D</a:t>
            </a:r>
            <a:r>
              <a:rPr lang="ar-EG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مجتمع رقمي شامل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400" b="1" i="0" u="none" strike="noStrike" cap="none" smtClea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3</a:t>
            </a:fld>
            <a:endParaRPr lang="en-US" sz="1400" b="1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4770818"/>
              </p:ext>
            </p:extLst>
          </p:nvPr>
        </p:nvGraphicFramePr>
        <p:xfrm>
          <a:off x="467544" y="1340768"/>
          <a:ext cx="8039100" cy="40608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.D</a:t>
                      </a:r>
                      <a:r>
                        <a:rPr lang="ar-EG" sz="1600" spc="10" baseline="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600" spc="1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جتمع </a:t>
                      </a:r>
                      <a:r>
                        <a:rPr lang="ar-SA" sz="1600" spc="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رقمي شامل: دعم تطوير واستخدام الاتصالات</a:t>
                      </a:r>
                      <a:r>
                        <a:rPr lang="ar-SA" sz="1600" spc="1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/</a:t>
                      </a:r>
                      <a:r>
                        <a:rPr lang="ar-EG" sz="1600" spc="1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spc="1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كنولوجيا المعلومات</a:t>
                      </a:r>
                      <a:r>
                        <a:rPr lang="ar-EG" sz="1600" spc="1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spc="1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اتصالات</a:t>
                      </a:r>
                      <a:r>
                        <a:rPr lang="ar-EG" sz="1600" spc="1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spc="1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تطبيقاتها </a:t>
                      </a:r>
                      <a:r>
                        <a:rPr lang="ar-SA" sz="1600" spc="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تمكين الأشخاص والمجتمعات تحقيقاً </a:t>
                      </a:r>
                      <a:r>
                        <a:rPr lang="ar-SA" sz="1600" b="1" spc="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لتنمية الاجتماعية والاقتصادية وحماية البيئة</a:t>
                      </a:r>
                      <a:endParaRPr lang="en-US" sz="1400" b="1" spc="10" baseline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4.D</a:t>
                      </a:r>
                      <a:r>
                        <a:rPr lang="ar-SA" sz="16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حسين النفاذ إلى الاتصالات/تكنولوجيا المعلومات والاتصالات واستخدامها في أقل البلدان نمواً </a:t>
                      </a:r>
                      <a:r>
                        <a:rPr lang="en-GB" sz="11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</a:t>
                      </a:r>
                      <a:r>
                        <a:rPr lang="en-GB" sz="1100" b="1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LDC</a:t>
                      </a:r>
                      <a:r>
                        <a:rPr lang="en-GB" sz="11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)</a:t>
                      </a:r>
                      <a:r>
                        <a:rPr lang="ar-SA" sz="16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الدول الجزرية الصغيرة النامية </a:t>
                      </a:r>
                      <a:r>
                        <a:rPr lang="en-GB" sz="11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</a:t>
                      </a:r>
                      <a:r>
                        <a:rPr lang="en-GB" sz="1100" b="1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SIDS</a:t>
                      </a:r>
                      <a:r>
                        <a:rPr lang="en-GB" sz="11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)</a:t>
                      </a:r>
                      <a:r>
                        <a:rPr lang="ar-SA" sz="16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البلدان النامية غير الساحلية </a:t>
                      </a:r>
                      <a:r>
                        <a:rPr lang="en-GB" sz="11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</a:t>
                      </a:r>
                      <a:r>
                        <a:rPr lang="en-GB" sz="1100" b="1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LLDC</a:t>
                      </a:r>
                      <a:r>
                        <a:rPr lang="en-GB" sz="11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)</a:t>
                      </a:r>
                      <a:r>
                        <a:rPr lang="ar-SA" sz="1600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b="1" spc="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بلدان التي تمر اقتصاداتها بمرحلة انتقالية</a:t>
                      </a:r>
                      <a:endParaRPr lang="en-US" sz="1400" b="1" spc="0" baseline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4.D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حسين قدرة أعضاء الاتحاد على الاستفادة من تطبيقات تكنولوجيا المعلومات والاتصالات بما فيها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طبيقات المتنقلة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، في المجالات ذات الأولوية العالية (مثل 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صحة والزراعة والتجارة </a:t>
                      </a:r>
                      <a:r>
                        <a:rPr lang="ar-SA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إدارة</a:t>
                      </a:r>
                      <a:r>
                        <a:rPr lang="ar-EG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تعليم</a:t>
                      </a:r>
                      <a:r>
                        <a:rPr lang="ar-EG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b="1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تمويل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4.D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عزيز قدرة أعضاء الاتحاد على تطوير استراتيجيات وسياسات وممارسات لتحقيق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شمول الرقمي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ا سيما فيما يتعلق بالأشخاص ذوي الاحتياجات المحدد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-4.D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عزيز قدرة أعضاء الاتحاد على تطوير استراتيجيات وحلول لتكنولوجيا المعلومات والاتصالات ترمي إلى التكيف مع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غير المناخ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تخفيف من آثاره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4.D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خدمات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شأن مساعدات مكثفة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أقل البلدان نمواً والدول الجزرية الصغيرة النامية والبلدان النامية غير الساحلية والبلدان التي تمر اقتصاداتها بمرحلة انتقالية</a:t>
                      </a:r>
                      <a:endParaRPr lang="en-US" sz="1400" b="1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4.D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خدمات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شأن </a:t>
                      </a:r>
                      <a:r>
                        <a:rPr lang="ar-SA" sz="1600" b="1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طبيقات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تكنولوجيا المعلومات و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spc="-3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4.D</a:t>
                      </a:r>
                      <a:r>
                        <a:rPr lang="ar-EG" sz="1600" spc="-30" baseline="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spc="-3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</a:t>
                      </a:r>
                      <a:r>
                        <a:rPr lang="ar-EG" sz="1600" spc="-3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خدمات </a:t>
                      </a:r>
                      <a:r>
                        <a:rPr lang="ar-SA" sz="1600" spc="-3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شأن </a:t>
                      </a:r>
                      <a:r>
                        <a:rPr lang="ar-SA" sz="1600" b="1" spc="-3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شمول الرقمي </a:t>
                      </a:r>
                      <a:r>
                        <a:rPr lang="ar-SA" sz="1600" spc="-3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لأشخاص ذوي الاحتياجات المحددة</a:t>
                      </a:r>
                      <a:endParaRPr lang="en-US" sz="1400" spc="-30" baseline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spc="1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-4.D</a:t>
                      </a:r>
                      <a:r>
                        <a:rPr lang="ar-EG" sz="1600" spc="10" baseline="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EG" sz="1600" spc="10" baseline="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تجات </a:t>
                      </a:r>
                      <a:r>
                        <a:rPr lang="ar-EG" sz="1600" spc="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خدمات </a:t>
                      </a:r>
                      <a:r>
                        <a:rPr lang="ar-SA" sz="1600" spc="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شأن الاستفادة من تكنولوجيا المعلومات والاتصالات من أجل التكيف مع </a:t>
                      </a:r>
                      <a:r>
                        <a:rPr lang="ar-SA" sz="1600" b="1" spc="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غير المناخ </a:t>
                      </a:r>
                      <a:r>
                        <a:rPr lang="ar-SA" sz="1600" spc="10" baseline="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تخفيف من آثاره</a:t>
                      </a:r>
                      <a:endParaRPr lang="en-US" sz="1400" spc="10" baseline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4958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0996" y="2173233"/>
            <a:ext cx="2258916" cy="118375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96" y="1597169"/>
            <a:ext cx="1690508" cy="17531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المشتركة بين القطاعات (الهدف </a:t>
            </a:r>
            <a: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.I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جديد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4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755576" y="1046962"/>
            <a:ext cx="7722440" cy="5478382"/>
          </a:xfrm>
        </p:spPr>
        <p:txBody>
          <a:bodyPr>
            <a:normAutofit/>
          </a:bodyPr>
          <a:lstStyle/>
          <a:p>
            <a:pPr algn="r" rtl="1"/>
            <a:r>
              <a:rPr lang="en-US" sz="2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2019-2016) </a:t>
            </a:r>
            <a:r>
              <a:rPr lang="en-US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.I</a:t>
            </a:r>
            <a:r>
              <a:rPr lang="ar-EG" sz="2000" dirty="0" smtClean="0">
                <a:latin typeface="Traditional Arabic" panose="02020603050405020304" pitchFamily="18" charset="-78"/>
                <a:ea typeface="Times New Roman" panose="02020603050405020304" pitchFamily="18" charset="0"/>
              </a:rPr>
              <a:t> </a:t>
            </a:r>
            <a:r>
              <a:rPr lang="ar-SY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شجيع </a:t>
            </a:r>
            <a:r>
              <a:rPr lang="ar-SY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إجراء حوار دولي بين أصحاب </a:t>
            </a:r>
            <a:r>
              <a:rPr lang="ar-SY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صلحة</a:t>
            </a:r>
            <a:endParaRPr lang="en-US" sz="2400" dirty="0" smtClean="0"/>
          </a:p>
          <a:p>
            <a:pPr algn="r" rtl="1"/>
            <a:r>
              <a:rPr lang="en-US" sz="2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2019-2016) </a:t>
            </a:r>
            <a:r>
              <a:rPr lang="en-US" sz="2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.I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</a:rPr>
              <a:t> </a:t>
            </a:r>
            <a:r>
              <a:rPr lang="ar-SY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شجيع </a:t>
            </a:r>
            <a:r>
              <a:rPr lang="ar-SY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شراكات والتعاون داخل </a:t>
            </a:r>
            <a:r>
              <a:rPr lang="ar-SY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يئة</a:t>
            </a:r>
            <a:r>
              <a:rPr lang="ar-EG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Y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صالات/</a:t>
            </a:r>
            <a:r>
              <a:rPr lang="ar-EG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Y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كنولوجيا </a:t>
            </a:r>
            <a:r>
              <a:rPr lang="ar-SY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علومات </a:t>
            </a:r>
            <a:r>
              <a:rPr lang="ar-SY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اتصالات</a:t>
            </a:r>
            <a:endParaRPr lang="en-US" dirty="0" smtClean="0"/>
          </a:p>
          <a:p>
            <a:pPr marL="0" indent="0" algn="r" rtl="1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marL="0" indent="0" algn="r" rtl="1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marL="0" indent="0" algn="r" rtl="1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marL="0" lvl="0" indent="0" algn="r" rtl="1">
              <a:buClr>
                <a:srgbClr val="498BC9"/>
              </a:buClr>
              <a:buNone/>
            </a:pPr>
            <a:r>
              <a:rPr lang="ar-SA" sz="2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</a:t>
            </a:r>
            <a:r>
              <a:rPr lang="ar-EG" sz="2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 </a:t>
            </a:r>
            <a:r>
              <a:rPr lang="ar-SA" sz="24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قترح للنظر فيه:</a:t>
            </a:r>
            <a:endParaRPr lang="ar-EG" sz="2400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r" rtl="1"/>
            <a:r>
              <a:rPr lang="ar-SA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</a:t>
            </a:r>
            <a:r>
              <a:rPr lang="ar-EG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en-US" sz="2800" dirty="0" smtClean="0">
                <a:solidFill>
                  <a:srgbClr val="498BC9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1.I</a:t>
            </a:r>
            <a:r>
              <a:rPr lang="ar-EG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3200" i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يد</a:t>
            </a:r>
            <a:r>
              <a:rPr lang="ar-EG" sz="32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EG" sz="3200" dirty="0">
                <a:solidFill>
                  <a:srgbClr val="5B9BD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</a:t>
            </a:r>
            <a:r>
              <a:rPr lang="ar-EG" sz="3200" b="1" dirty="0">
                <a:solidFill>
                  <a:srgbClr val="5B9BD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تعاون</a:t>
            </a:r>
            <a:r>
              <a:rPr lang="ar-EG" sz="3200" dirty="0">
                <a:solidFill>
                  <a:srgbClr val="5B9BD5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الأوثق بين جميع أصحاب المصلحة في النظام الإيكولوجي لتكنولوجيا المعلومات والاتصالات من أجل تحقيق أهداف التنمية المستدامة</a:t>
            </a:r>
            <a:endParaRPr lang="en-US" sz="3000" dirty="0">
              <a:solidFill>
                <a:srgbClr val="5B9BD5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26579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r="9453"/>
          <a:stretch/>
        </p:blipFill>
        <p:spPr>
          <a:xfrm>
            <a:off x="179512" y="2420888"/>
            <a:ext cx="1708845" cy="16757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المشتركة بين القطاعات (الهدف </a:t>
            </a:r>
            <a:r>
              <a:rPr lang="en-US" sz="40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.I</a:t>
            </a:r>
            <a:r>
              <a:rPr lang="ar-SA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يد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5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528" y="1340768"/>
            <a:ext cx="8153400" cy="5112568"/>
          </a:xfrm>
        </p:spPr>
        <p:txBody>
          <a:bodyPr>
            <a:normAutofit/>
          </a:bodyPr>
          <a:lstStyle/>
          <a:p>
            <a:pPr algn="r" rtl="1"/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2019-2016) 3.I</a:t>
            </a: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Y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تحديد الاتجاهات الناشئة في بيئة الاتصالات</a:t>
            </a:r>
            <a:r>
              <a:rPr lang="ar-SY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/</a:t>
            </a:r>
            <a:r>
              <a:rPr lang="ar-EG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Y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كنولوجيا </a:t>
            </a:r>
            <a:r>
              <a:rPr lang="ar-SY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علومات والاتصالات </a:t>
            </a:r>
            <a:r>
              <a:rPr lang="ar-SY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تحليلها</a:t>
            </a:r>
            <a:endParaRPr lang="en-US" sz="2800" dirty="0"/>
          </a:p>
          <a:p>
            <a:pPr marL="0" indent="0" algn="r" rtl="1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marL="0" indent="0" algn="r" rtl="1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marL="0" indent="0" algn="r" rtl="1">
              <a:buNone/>
            </a:pPr>
            <a:endParaRPr lang="en-US" sz="2000" dirty="0">
              <a:sym typeface="Wingdings" panose="05000000000000000000" pitchFamily="2" charset="2"/>
            </a:endParaRPr>
          </a:p>
          <a:p>
            <a:pPr marL="0" indent="0" algn="r" rtl="1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marL="0" lvl="0" indent="0" algn="r" rtl="1">
              <a:buClr>
                <a:srgbClr val="498BC9"/>
              </a:buClr>
              <a:buNone/>
            </a:pPr>
            <a:r>
              <a:rPr lang="ar-SA" sz="2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</a:t>
            </a:r>
            <a:r>
              <a:rPr lang="ar-EG" sz="2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 </a:t>
            </a:r>
            <a:r>
              <a:rPr lang="ar-SA" sz="24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قترح للنظر فيه:</a:t>
            </a:r>
            <a:endParaRPr lang="ar-EG" sz="2400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r" rtl="1"/>
            <a:r>
              <a:rPr lang="ar-SA" sz="3600" dirty="0" smtClean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</a:t>
            </a:r>
            <a:r>
              <a:rPr lang="en-US" sz="2800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.I</a:t>
            </a:r>
            <a:r>
              <a:rPr lang="ar-EG" sz="3600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3600" i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يد</a:t>
            </a:r>
            <a:r>
              <a:rPr lang="ar-EG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EG" sz="3600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</a:t>
            </a:r>
            <a:r>
              <a:rPr lang="ar-EG" sz="3600" b="1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جاهات الناشئة في مجال تكنولوجيا المعلومات والاتصالات</a:t>
            </a:r>
            <a:r>
              <a:rPr lang="ar-EG" sz="3600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والنهوض بها </a:t>
            </a:r>
            <a:r>
              <a:rPr lang="ar-SA" sz="3600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غية تسريع وتيرة تنفيذ </a:t>
            </a:r>
            <a:r>
              <a:rPr lang="ar-EG" sz="3600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هداف التنمية المستدامة</a:t>
            </a:r>
            <a:endParaRPr lang="en-US" sz="3500" dirty="0">
              <a:solidFill>
                <a:srgbClr val="498B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872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المشتركة بين القطاعات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6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9040" y="1340767"/>
            <a:ext cx="8153400" cy="5112568"/>
          </a:xfrm>
        </p:spPr>
        <p:txBody>
          <a:bodyPr>
            <a:normAutofit/>
          </a:bodyPr>
          <a:lstStyle/>
          <a:p>
            <a:pPr algn="r" rtl="1"/>
            <a:r>
              <a:rPr lang="en-US" sz="2400" dirty="0">
                <a:ea typeface="Times New Roman" panose="02020603050405020304" pitchFamily="18" charset="0"/>
                <a:cs typeface="Traditional Arabic" panose="02020603050405020304" pitchFamily="18" charset="-78"/>
              </a:rPr>
              <a:t>(2019-2016) </a:t>
            </a:r>
            <a:r>
              <a:rPr lang="en-US" sz="24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4.I</a:t>
            </a:r>
            <a:r>
              <a:rPr lang="ar-EG" sz="2400" dirty="0" smtClean="0">
                <a:ea typeface="Times New Roman" panose="02020603050405020304" pitchFamily="18" charset="0"/>
              </a:rPr>
              <a:t> </a:t>
            </a:r>
            <a:r>
              <a:rPr lang="ar-SY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/تشجيع </a:t>
            </a:r>
            <a:r>
              <a:rPr lang="ar-SY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عتراف (بأهمية) الاتصالات/تكنولوجيا المعلومات والاتصالات كعامل تمكيني ل</a:t>
            </a:r>
            <a:r>
              <a:rPr lang="ar-SA" sz="2800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‍حقيق</a:t>
            </a: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تنمية الاجتماعية والاقتصادية والمستدامة </a:t>
            </a:r>
            <a:r>
              <a:rPr lang="ar-SA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بيئياً</a:t>
            </a:r>
            <a:endParaRPr lang="ar-EG" sz="2800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r" rtl="1"/>
            <a:endParaRPr lang="en-US" sz="2000" dirty="0" smtClean="0">
              <a:sym typeface="Wingdings" panose="05000000000000000000" pitchFamily="2" charset="2"/>
            </a:endParaRPr>
          </a:p>
          <a:p>
            <a:pPr marL="0" indent="0" algn="r" rtl="1">
              <a:buNone/>
            </a:pPr>
            <a:endParaRPr lang="en-US" sz="2000" dirty="0">
              <a:sym typeface="Wingdings" panose="05000000000000000000" pitchFamily="2" charset="2"/>
            </a:endParaRPr>
          </a:p>
          <a:p>
            <a:pPr marL="0" indent="0" algn="r" rtl="1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lvl="1" algn="r" rtl="1"/>
            <a:endParaRPr lang="en-US" sz="2000" dirty="0"/>
          </a:p>
          <a:p>
            <a:pPr marL="0" lvl="0" indent="0" algn="r" rtl="1">
              <a:buClr>
                <a:srgbClr val="498BC9"/>
              </a:buClr>
              <a:buNone/>
            </a:pPr>
            <a:r>
              <a:rPr lang="ar-SA" sz="2200" dirty="0" smtClean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</a:t>
            </a:r>
            <a:r>
              <a:rPr lang="ar-EG" sz="2200" dirty="0" smtClean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 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قترح 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لنظر فيه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ar-EG" sz="2400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marL="0" lvl="0" indent="0" algn="r" rtl="1">
              <a:buClr>
                <a:srgbClr val="498BC9"/>
              </a:buClr>
              <a:buNone/>
            </a:pPr>
            <a:r>
              <a:rPr lang="ar-SA" sz="2800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ُدرج في الهدفين </a:t>
            </a:r>
            <a:r>
              <a:rPr lang="en-US" sz="2400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.I</a:t>
            </a:r>
            <a:r>
              <a:rPr lang="ar-EG" sz="2800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و</a:t>
            </a:r>
            <a:r>
              <a:rPr lang="en-US" sz="2400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.I</a:t>
            </a:r>
            <a:r>
              <a:rPr lang="ar-EG" sz="2800" dirty="0">
                <a:solidFill>
                  <a:srgbClr val="498BC9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جديدين المقترحين</a:t>
            </a:r>
            <a:endParaRPr lang="en-US" sz="1700" dirty="0" smtClean="0">
              <a:solidFill>
                <a:srgbClr val="498BC9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b="1972"/>
          <a:stretch/>
        </p:blipFill>
        <p:spPr>
          <a:xfrm>
            <a:off x="467544" y="2790848"/>
            <a:ext cx="2186102" cy="2212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19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المشتركة بين القطاعات (الهدف </a:t>
            </a:r>
            <a: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3.I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جديد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7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64504" y="1340768"/>
            <a:ext cx="8153400" cy="5112568"/>
          </a:xfrm>
        </p:spPr>
        <p:txBody>
          <a:bodyPr>
            <a:normAutofit/>
          </a:bodyPr>
          <a:lstStyle/>
          <a:p>
            <a:pPr algn="r" rtl="1"/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نفاذ الأشخاص ذوي الإعاقة وذوي الاحتياجات المحددة إلى الاتصالات/تكنولوجيا المعلومات </a:t>
            </a:r>
            <a:r>
              <a:rPr lang="ar-SA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اتصالات</a:t>
            </a:r>
            <a:endParaRPr lang="en-US" sz="2800" dirty="0"/>
          </a:p>
          <a:p>
            <a:pPr marL="0" indent="0" algn="r" rtl="1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lvl="1" algn="r" rtl="1"/>
            <a:endParaRPr lang="en-US" sz="2000" dirty="0"/>
          </a:p>
          <a:p>
            <a:pPr marL="0" lvl="0" indent="0" algn="r" rtl="1">
              <a:buClr>
                <a:srgbClr val="498BC9"/>
              </a:buClr>
              <a:buNone/>
            </a:pPr>
            <a:r>
              <a:rPr lang="ar-SA" sz="22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</a:t>
            </a:r>
            <a:r>
              <a:rPr lang="ar-EG" sz="22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 </a:t>
            </a:r>
            <a:r>
              <a:rPr lang="ar-SA" sz="24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قترح للنظر فيه:</a:t>
            </a:r>
            <a:endParaRPr lang="ar-EG" sz="2400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r" rtl="1"/>
            <a:r>
              <a:rPr lang="ar-SA" sz="3200" dirty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</a:t>
            </a:r>
            <a:r>
              <a:rPr lang="en-US" sz="2800" dirty="0" smtClean="0">
                <a:solidFill>
                  <a:srgbClr val="498BC9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3.I</a:t>
            </a:r>
            <a:r>
              <a:rPr lang="ar-EG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3200" i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يد</a:t>
            </a:r>
            <a:r>
              <a:rPr lang="ar-EG" sz="32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SA" sz="3200" dirty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نفاذ الأشخاص </a:t>
            </a:r>
            <a:r>
              <a:rPr lang="ar-SA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ذوي</a:t>
            </a:r>
            <a:r>
              <a:rPr lang="ar-EG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3200" dirty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إعاقة إلى تكنولوجيا المعلومات </a:t>
            </a:r>
            <a:r>
              <a:rPr lang="ar-SA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الاتصالات</a:t>
            </a:r>
            <a:endParaRPr lang="en-US" sz="2000" dirty="0" smtClean="0">
              <a:solidFill>
                <a:srgbClr val="498BC9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r="3398"/>
          <a:stretch/>
        </p:blipFill>
        <p:spPr>
          <a:xfrm>
            <a:off x="107504" y="2636912"/>
            <a:ext cx="3072637" cy="3344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329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Autofit/>
          </a:bodyPr>
          <a:lstStyle/>
          <a:p>
            <a:pPr algn="r" rtl="1"/>
            <a:r>
              <a:rPr lang="ar-SA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المشتركة بين القطاعات (الهدفان </a:t>
            </a:r>
            <a:r>
              <a:rPr lang="en-US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4.I</a:t>
            </a: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</a:t>
            </a:r>
            <a:r>
              <a:rPr lang="en-US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5.I</a:t>
            </a: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يدان)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8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9040" y="1340768"/>
            <a:ext cx="8153400" cy="5112568"/>
          </a:xfrm>
        </p:spPr>
        <p:txBody>
          <a:bodyPr>
            <a:normAutofit lnSpcReduction="10000"/>
          </a:bodyPr>
          <a:lstStyle/>
          <a:p>
            <a:pPr algn="r" rtl="1"/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واضيع المقترحة</a:t>
            </a:r>
            <a:r>
              <a:rPr lang="ar-SA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en-US" sz="2800" dirty="0" smtClean="0"/>
          </a:p>
          <a:p>
            <a:pPr lvl="1" algn="r" rtl="1"/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المشترك بين القطاعات بشأن </a:t>
            </a:r>
            <a:r>
              <a:rPr lang="ar-SA" sz="2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اواة بين الجنسين وتمكين المرأة</a:t>
            </a: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ن خلال تكنولوجيا المعلومات </a:t>
            </a:r>
            <a:r>
              <a:rPr lang="ar-SA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اتصالات</a:t>
            </a:r>
            <a:endParaRPr lang="en-US" sz="2500" dirty="0" smtClean="0"/>
          </a:p>
          <a:p>
            <a:pPr lvl="1" algn="r" rtl="1"/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المشترك بين القطاعات بشأن </a:t>
            </a:r>
            <a:r>
              <a:rPr lang="ar-SA" sz="2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دامة البيئية</a:t>
            </a:r>
            <a:r>
              <a:rPr lang="ar-SA" sz="2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/</a:t>
            </a:r>
            <a:r>
              <a:rPr lang="ar-SA" sz="2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كنولوجيا المعلومات والاتصالات وتغير </a:t>
            </a:r>
            <a:r>
              <a:rPr lang="ar-SA" sz="28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ناخ</a:t>
            </a:r>
            <a:endParaRPr lang="en-US" sz="2500" dirty="0"/>
          </a:p>
          <a:p>
            <a:pPr lvl="1" algn="r" rtl="1"/>
            <a:endParaRPr lang="en-US" sz="2000" dirty="0"/>
          </a:p>
          <a:p>
            <a:pPr marL="0" lvl="0" indent="0" algn="r" rtl="1">
              <a:buClr>
                <a:srgbClr val="498BC9"/>
              </a:buClr>
              <a:buNone/>
            </a:pPr>
            <a:r>
              <a:rPr lang="ar-SA" sz="22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</a:t>
            </a:r>
            <a:r>
              <a:rPr lang="ar-EG" sz="22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 </a:t>
            </a:r>
            <a:r>
              <a:rPr lang="ar-SA" sz="24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قترح للنظر فيه:</a:t>
            </a:r>
            <a:endParaRPr lang="ar-EG" sz="2400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r" rtl="1"/>
            <a:r>
              <a:rPr lang="ar-SA" sz="3200" dirty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</a:t>
            </a:r>
            <a:r>
              <a:rPr lang="en-US" sz="2800" dirty="0" smtClean="0">
                <a:solidFill>
                  <a:srgbClr val="498BC9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4.I</a:t>
            </a:r>
            <a:r>
              <a:rPr lang="ar-EG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3200" i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يد</a:t>
            </a:r>
            <a:r>
              <a:rPr lang="ar-EG" sz="32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EG" sz="3200" dirty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عزيز استخدم تكنولوجيا المعلومات والاتصالات من أجل </a:t>
            </a:r>
            <a:r>
              <a:rPr lang="ar-SA" sz="3200" dirty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تحقيق المساواة بين الجنسين وتمكين المرأة </a:t>
            </a:r>
            <a:r>
              <a:rPr lang="ar-SA" sz="2400" i="1" dirty="0">
                <a:solidFill>
                  <a:srgbClr val="7C7C7C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(مقترح عمل</a:t>
            </a:r>
            <a:r>
              <a:rPr lang="ar-SA" sz="2400" i="1" dirty="0" smtClean="0">
                <a:solidFill>
                  <a:srgbClr val="7C7C7C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)</a:t>
            </a:r>
            <a:r>
              <a:rPr lang="ar-EG" sz="32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</a:p>
          <a:p>
            <a:pPr algn="r" rtl="1"/>
            <a:r>
              <a:rPr lang="ar-SA" sz="3200" dirty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هدف </a:t>
            </a:r>
            <a:r>
              <a:rPr lang="en-US" sz="2800" dirty="0" smtClean="0">
                <a:solidFill>
                  <a:srgbClr val="498BC9"/>
                </a:solidFill>
                <a:ea typeface="Times New Roman" panose="02020603050405020304" pitchFamily="18" charset="0"/>
                <a:cs typeface="Traditional Arabic" panose="02020603050405020304" pitchFamily="18" charset="-78"/>
              </a:rPr>
              <a:t>5.I</a:t>
            </a:r>
            <a:r>
              <a:rPr lang="ar-EG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3200" i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جديد</a:t>
            </a:r>
            <a:r>
              <a:rPr lang="ar-EG" sz="32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: </a:t>
            </a:r>
            <a:r>
              <a:rPr lang="ar-EG" sz="3200" dirty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حد من البصمة البيئية الناجمة عن قطاع الاتصالات</a:t>
            </a:r>
            <a:r>
              <a:rPr lang="ar-EG" sz="3200" dirty="0" smtClean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/ تكنولوجيا </a:t>
            </a:r>
            <a:r>
              <a:rPr lang="ar-EG" sz="3200" dirty="0">
                <a:solidFill>
                  <a:srgbClr val="498BC9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علومات والاتصالات </a:t>
            </a:r>
            <a:r>
              <a:rPr lang="ar-SA" sz="2400" i="1" dirty="0">
                <a:solidFill>
                  <a:srgbClr val="7C7C7C"/>
                </a:solidFill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(مقترح عمل)</a:t>
            </a:r>
            <a:r>
              <a:rPr lang="ar-EG" sz="32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7765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Arrow 6"/>
          <p:cNvSpPr/>
          <p:nvPr/>
        </p:nvSpPr>
        <p:spPr>
          <a:xfrm flipH="1">
            <a:off x="4150857" y="2492896"/>
            <a:ext cx="495028" cy="22322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قتراح أهداف مشتركة بين القطاعات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9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772642"/>
              </p:ext>
            </p:extLst>
          </p:nvPr>
        </p:nvGraphicFramePr>
        <p:xfrm>
          <a:off x="4650160" y="1268760"/>
          <a:ext cx="4098304" cy="493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98304"/>
              </a:tblGrid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Bef>
                          <a:spcPts val="600"/>
                        </a:spcBef>
                      </a:pPr>
                      <a:r>
                        <a:rPr lang="en-US" sz="2400" dirty="0" smtClean="0"/>
                        <a:t>2019-2016</a:t>
                      </a:r>
                      <a:endParaRPr lang="en-US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r" rtl="1">
                        <a:lnSpc>
                          <a:spcPct val="80000"/>
                        </a:lnSpc>
                        <a:spcBef>
                          <a:spcPts val="600"/>
                        </a:spcBef>
                      </a:pPr>
                      <a:r>
                        <a:rPr lang="en-US" sz="18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1.I</a:t>
                      </a:r>
                      <a:r>
                        <a:rPr lang="ar-EG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Y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تشجيع إجراء حوار دولي بين أصحاب المصلحة</a:t>
                      </a:r>
                      <a:endParaRPr lang="en-US" sz="24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r" defTabSz="914400" rtl="1" eaLnBrk="1" fontAlgn="auto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2.I</a:t>
                      </a:r>
                      <a:r>
                        <a:rPr lang="ar-EG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Y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تشجيع الشراكات والتعاون داخل بيئة الاتصالات/تكنولوجيا المعلومات والاتصالات</a:t>
                      </a:r>
                      <a:endParaRPr lang="en-US" sz="24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r" defTabSz="914400" rtl="1" eaLnBrk="1" fontAlgn="auto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3.I</a:t>
                      </a:r>
                      <a:r>
                        <a:rPr lang="ar-EG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Y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تعزيز تحديد الاتجاهات الناشئة في بيئة الاتصالات/تكنولوجيا المعلومات والاتصالات وتحليلها</a:t>
                      </a:r>
                      <a:endParaRPr lang="en-US" sz="24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r" rtl="1">
                        <a:lnSpc>
                          <a:spcPct val="80000"/>
                        </a:lnSpc>
                        <a:spcBef>
                          <a:spcPts val="600"/>
                        </a:spcBef>
                      </a:pPr>
                      <a:r>
                        <a:rPr lang="en-US" sz="18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4.I</a:t>
                      </a:r>
                      <a:r>
                        <a:rPr lang="ar-EG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Y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تعزيز/تشجيع الاعتراف (بأهمية) الاتصالات/تكنولوجيا المعلومات والاتصالات كعامل تمكيني ل</a:t>
                      </a:r>
                      <a:r>
                        <a:rPr lang="ar-EG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تحقيق </a:t>
                      </a:r>
                      <a:r>
                        <a:rPr lang="ar-SA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تنمية الاجتماعية والاقتصادية والمستدامة بيئياً</a:t>
                      </a:r>
                      <a:endParaRPr lang="en-US" sz="24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r" rtl="1">
                        <a:lnSpc>
                          <a:spcPct val="80000"/>
                        </a:lnSpc>
                        <a:spcBef>
                          <a:spcPts val="600"/>
                        </a:spcBef>
                      </a:pPr>
                      <a:r>
                        <a:rPr lang="en-US" sz="18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5.I</a:t>
                      </a:r>
                      <a:r>
                        <a:rPr lang="ar-EG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A" sz="2400" dirty="0" smtClean="0"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تعزيز نفاذ الأشخاص ذوي الإعاقة وذوي الاحتياجات المحددة إلى الاتصالات/تكنولوجيا المعلومات والاتصالات</a:t>
                      </a:r>
                      <a:endParaRPr lang="en-US" sz="24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857621"/>
              </p:ext>
            </p:extLst>
          </p:nvPr>
        </p:nvGraphicFramePr>
        <p:xfrm>
          <a:off x="179512" y="1408460"/>
          <a:ext cx="3888432" cy="5032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8432"/>
              </a:tblGrid>
              <a:tr h="149042">
                <a:tc>
                  <a:txBody>
                    <a:bodyPr/>
                    <a:lstStyle/>
                    <a:p>
                      <a:pPr algn="ctr" rtl="1">
                        <a:lnSpc>
                          <a:spcPct val="80000"/>
                        </a:lnSpc>
                        <a:spcBef>
                          <a:spcPts val="600"/>
                        </a:spcBef>
                      </a:pPr>
                      <a:r>
                        <a:rPr lang="en-US" sz="2400" dirty="0" smtClean="0"/>
                        <a:t>2023-2020</a:t>
                      </a:r>
                      <a:endParaRPr lang="en-US" sz="2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r" rtl="1">
                        <a:lnSpc>
                          <a:spcPct val="80000"/>
                        </a:lnSpc>
                        <a:spcBef>
                          <a:spcPts val="600"/>
                        </a:spcBef>
                      </a:pPr>
                      <a:r>
                        <a:rPr kumimoji="0"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Traditional Arabic" panose="02020603050405020304" pitchFamily="18" charset="-78"/>
                        </a:rPr>
                        <a:t>1.I</a:t>
                      </a:r>
                      <a:r>
                        <a:rPr kumimoji="0" lang="ar-EG" sz="2400" kern="1200" dirty="0" smtClean="0">
                          <a:solidFill>
                            <a:schemeClr val="dk1"/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: تعزيز التعاون الأوثق بين جميع أصحاب المصلحة في النظام الإيكولوجي لتكنولوجيا المعلومات والاتصالات من أجل تحقيق أهداف التنمية المستدامة</a:t>
                      </a:r>
                      <a:endParaRPr lang="en-US" sz="2400" dirty="0" smtClean="0"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r" rtl="1">
                        <a:lnSpc>
                          <a:spcPct val="80000"/>
                        </a:lnSpc>
                        <a:spcBef>
                          <a:spcPts val="600"/>
                        </a:spcBef>
                      </a:pPr>
                      <a:r>
                        <a:rPr kumimoji="0"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Traditional Arabic" panose="02020603050405020304" pitchFamily="18" charset="-78"/>
                        </a:rPr>
                        <a:t>2.I</a:t>
                      </a:r>
                      <a:r>
                        <a:rPr kumimoji="0" lang="ar-EG" sz="2400" kern="1200" dirty="0" smtClean="0">
                          <a:solidFill>
                            <a:schemeClr val="dk1"/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: تعزيز الاتجاهات الناشئة في مجال تكنولوجيا المعلومات والاتصالات والنهوض بها </a:t>
                      </a:r>
                      <a:r>
                        <a:rPr kumimoji="0" lang="ar-SA" sz="2400" kern="1200" dirty="0" smtClean="0">
                          <a:solidFill>
                            <a:schemeClr val="dk1"/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بغية تسريع وتيرة تنفيذ </a:t>
                      </a:r>
                      <a:r>
                        <a:rPr kumimoji="0" lang="ar-EG" sz="2400" kern="1200" dirty="0" smtClean="0">
                          <a:solidFill>
                            <a:schemeClr val="dk1"/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أهداف التنمية المستدامة</a:t>
                      </a:r>
                      <a:endParaRPr lang="en-US" sz="2400" dirty="0" smtClean="0"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</a:txBody>
                  <a:tcPr/>
                </a:tc>
              </a:tr>
              <a:tr h="546060">
                <a:tc>
                  <a:txBody>
                    <a:bodyPr/>
                    <a:lstStyle/>
                    <a:p>
                      <a:pPr algn="r" rtl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kumimoji="0"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Traditional Arabic" panose="02020603050405020304" pitchFamily="18" charset="-78"/>
                        </a:rPr>
                        <a:t>3.I</a:t>
                      </a:r>
                      <a:r>
                        <a:rPr kumimoji="0" lang="ar-EG" sz="2400" kern="1200" dirty="0" smtClean="0">
                          <a:solidFill>
                            <a:schemeClr val="dk1"/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kumimoji="0" lang="ar-SA" sz="2400" kern="1200" dirty="0" smtClean="0">
                          <a:solidFill>
                            <a:schemeClr val="dk1"/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تعزيز نفاذ الأشخاص ذوي الإعاقة إلى تكنولوجيا المعلومات والاتصالات</a:t>
                      </a:r>
                      <a:endParaRPr lang="en-US" sz="1600" dirty="0">
                        <a:effectLst/>
                        <a:latin typeface="Traditional Arabic" panose="02020603050405020304" pitchFamily="18" charset="-78"/>
                        <a:ea typeface="Times New Roman" panose="02020603050405020304" pitchFamily="18" charset="0"/>
                        <a:cs typeface="Traditional Arabic" panose="02020603050405020304" pitchFamily="18" charset="-78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r" rtl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kumimoji="0"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Traditional Arabic" panose="02020603050405020304" pitchFamily="18" charset="-78"/>
                        </a:rPr>
                        <a:t>4.I</a:t>
                      </a:r>
                      <a:r>
                        <a:rPr kumimoji="0" lang="ar-EG" sz="2400" kern="1200" dirty="0" smtClean="0">
                          <a:solidFill>
                            <a:schemeClr val="dk1"/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: "تعزيز استخدم تكنولوجيا المعلومات والاتصالات من أجل تحقيق </a:t>
                      </a:r>
                      <a:r>
                        <a:rPr kumimoji="0" lang="ar-SA" sz="2400" kern="1200" dirty="0" smtClean="0">
                          <a:solidFill>
                            <a:schemeClr val="dk1"/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المساواة بين الجنسين وتمكين المرأة</a:t>
                      </a:r>
                      <a:r>
                        <a:rPr kumimoji="0" lang="ar-EG" sz="2400" kern="1200" dirty="0" smtClean="0">
                          <a:solidFill>
                            <a:schemeClr val="dk1"/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"</a:t>
                      </a:r>
                      <a:r>
                        <a:rPr kumimoji="0" lang="ar-SA" sz="2400" kern="1200" dirty="0" smtClean="0">
                          <a:solidFill>
                            <a:schemeClr val="dk1"/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kumimoji="0" lang="ar-EG" sz="2000" i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(مقترح عمل)</a:t>
                      </a:r>
                      <a:endParaRPr lang="en-US" sz="1600" i="1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raditional Arabic" panose="02020603050405020304" pitchFamily="18" charset="-78"/>
                        <a:ea typeface="Times New Roman" panose="02020603050405020304" pitchFamily="18" charset="0"/>
                        <a:cs typeface="Traditional Arabic" panose="02020603050405020304" pitchFamily="18" charset="-78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r" defTabSz="914400" rtl="1" eaLnBrk="1" fontAlgn="auto" latinLnBrk="0" hangingPunct="1"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Traditional Arabic" panose="02020603050405020304" pitchFamily="18" charset="-78"/>
                        </a:rPr>
                        <a:t>5.I</a:t>
                      </a:r>
                      <a:r>
                        <a:rPr kumimoji="0" lang="ar-EG" sz="2400" kern="1200" dirty="0" smtClean="0">
                          <a:solidFill>
                            <a:schemeClr val="dk1"/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: "الحد من البصمة البيئية الناجمة عن قطاع الاتصالات/تكنولوجيا المعلومات والاتصالات" </a:t>
                      </a:r>
                      <a:r>
                        <a:rPr kumimoji="0" lang="ar-EG" sz="2000" i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raditional Arabic" panose="02020603050405020304" pitchFamily="18" charset="-78"/>
                          <a:ea typeface="+mn-ea"/>
                          <a:cs typeface="Traditional Arabic" panose="02020603050405020304" pitchFamily="18" charset="-78"/>
                        </a:rPr>
                        <a:t>(مقترح عمل)</a:t>
                      </a:r>
                      <a:endParaRPr lang="en-US" sz="2400" i="1" dirty="0" smtClean="0">
                        <a:solidFill>
                          <a:schemeClr val="bg1">
                            <a:lumMod val="50000"/>
                          </a:schemeClr>
                        </a:solidFill>
                        <a:latin typeface="Traditional Arabic" panose="02020603050405020304" pitchFamily="18" charset="-78"/>
                        <a:cs typeface="Traditional Arabic" panose="02020603050405020304" pitchFamily="18" charset="-78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53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37464" y="254486"/>
            <a:ext cx="7703768" cy="990600"/>
          </a:xfrm>
        </p:spPr>
        <p:txBody>
          <a:bodyPr>
            <a:normAutofit fontScale="90000"/>
          </a:bodyPr>
          <a:lstStyle/>
          <a:p>
            <a:pPr rtl="1"/>
            <a:r>
              <a:rPr lang="ar-SA" sz="49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فاهيم الجديدة المدرجة</a:t>
            </a:r>
            <a:r>
              <a:rPr lang="ar-EG" sz="49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في الخطة الاستراتيجية </a:t>
            </a:r>
            <a:r>
              <a:rPr lang="ar-EG" sz="49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49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49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لفترة </a:t>
            </a:r>
            <a: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19-2016</a:t>
            </a:r>
            <a:endParaRPr lang="en-US" sz="4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379040" y="1600200"/>
            <a:ext cx="8153400" cy="4925144"/>
          </a:xfrm>
        </p:spPr>
        <p:txBody>
          <a:bodyPr>
            <a:normAutofit fontScale="85000" lnSpcReduction="20000"/>
          </a:bodyPr>
          <a:lstStyle/>
          <a:p>
            <a:pPr algn="just" rtl="1"/>
            <a:r>
              <a:rPr lang="ar-EG" sz="260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نهج قوي </a:t>
            </a:r>
            <a:r>
              <a:rPr lang="ar-EG" sz="2600" b="1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قائم على النتائج</a:t>
            </a:r>
            <a:endParaRPr lang="en-US" sz="2600" b="1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just" rtl="1"/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غايات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عامة مع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قاصد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حددة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على مستوى الاتحاد </a:t>
            </a:r>
            <a:endParaRPr lang="en-US" sz="2400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lvl="1" algn="just" rtl="1"/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نتائج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لموسة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مؤشرات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لقياس أثر العمل الذي يضطلع به 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حاد</a:t>
            </a:r>
            <a:endParaRPr lang="en-US" sz="2400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lvl="1" algn="just" rtl="1">
              <a:buClr>
                <a:srgbClr val="5B9BD5"/>
              </a:buClr>
            </a:pPr>
            <a:r>
              <a:rPr lang="ar-EG" sz="2400" dirty="0">
                <a:solidFill>
                  <a:prstClr val="black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تمكّن الأمانة العامة أعمال القطاعات وتدعمها</a:t>
            </a:r>
            <a:endParaRPr lang="en-US" sz="2400" dirty="0">
              <a:solidFill>
                <a:prstClr val="black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2" algn="just" rtl="1"/>
            <a:r>
              <a:rPr lang="ar-SA" sz="21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قاس </a:t>
            </a:r>
            <a:r>
              <a:rPr lang="ar-SA" sz="2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دور </a:t>
            </a:r>
            <a:r>
              <a:rPr lang="ar-SA" sz="2100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</a:t>
            </a:r>
            <a:r>
              <a:rPr lang="ar-SA" sz="21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/الداعم أيضاً من خلال </a:t>
            </a:r>
            <a:r>
              <a:rPr lang="ar-SA" sz="21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ؤشرات</a:t>
            </a:r>
            <a:endParaRPr lang="ar-EG" sz="2100" b="1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lvl="2" algn="just" rtl="1"/>
            <a:endParaRPr lang="en-US" dirty="0"/>
          </a:p>
          <a:p>
            <a:pPr algn="just" rtl="1"/>
            <a:r>
              <a:rPr lang="ar-EG" sz="260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نهج قوي متمثل في </a:t>
            </a:r>
            <a:r>
              <a:rPr lang="ar-EG" sz="2600" b="1" dirty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 </a:t>
            </a:r>
            <a:r>
              <a:rPr lang="ar-EG" sz="2600" b="1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"توحيد الأداء </a:t>
            </a:r>
            <a:r>
              <a:rPr lang="ar-EG" sz="2600" b="1" dirty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في </a:t>
            </a:r>
            <a:r>
              <a:rPr lang="ar-EG" sz="2600" b="1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اتحاد"</a:t>
            </a:r>
            <a:endParaRPr lang="en-US" sz="2600" b="1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just" rtl="1"/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رسالة 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حاد ككل ورؤيته ومجموعة القيم لديه والغايات على مستوى المنظمة التي تساهم فيها القطاعات الثلاثة جميعها وفقاً لاختصاصات كل منها</a:t>
            </a:r>
            <a:endParaRPr lang="en-US" sz="2400" dirty="0" smtClean="0"/>
          </a:p>
          <a:p>
            <a:pPr algn="just" rtl="1"/>
            <a:endParaRPr lang="en-US" dirty="0"/>
          </a:p>
          <a:p>
            <a:pPr algn="just" rtl="1"/>
            <a:r>
              <a:rPr lang="ar-EG" sz="2600" b="1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إدارة المخاطر الاستراتيجية </a:t>
            </a:r>
            <a:r>
              <a:rPr lang="ar-EG" sz="260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مدرجة في العملية</a:t>
            </a:r>
          </a:p>
          <a:p>
            <a:pPr algn="just" rtl="1"/>
            <a:endParaRPr lang="en-US" dirty="0"/>
          </a:p>
          <a:p>
            <a:pPr algn="just" rtl="1"/>
            <a:r>
              <a:rPr lang="ar-EG" sz="2600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توزيع الموارد لتحقيق الأهداف والغايات</a:t>
            </a:r>
            <a:endParaRPr lang="en-US" sz="2600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just" rtl="1"/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ربط بين </a:t>
            </a:r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وارد المخصصة</a:t>
            </a: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فوائد المرجوة للأعضاء</a:t>
            </a: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نتائج/الأهداف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21701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1.I</a:t>
            </a:r>
            <a:r>
              <a:rPr lang="ar-EG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تعاون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0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5294496" y="5805264"/>
            <a:ext cx="3165936" cy="830997"/>
            <a:chOff x="6664781" y="5877272"/>
            <a:chExt cx="3165936" cy="830997"/>
          </a:xfrm>
        </p:grpSpPr>
        <p:sp>
          <p:nvSpPr>
            <p:cNvPr id="6" name="TextBox 5"/>
            <p:cNvSpPr txBox="1"/>
            <p:nvPr/>
          </p:nvSpPr>
          <p:spPr>
            <a:xfrm>
              <a:off x="6664781" y="5877272"/>
              <a:ext cx="304282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rtl="1"/>
              <a:r>
                <a:rPr lang="ar-SA" sz="16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نص الحالي (في الخطة الاستراتيجية للفترة </a:t>
              </a:r>
              <a:r>
                <a:rPr lang="en-US" sz="11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2019-2016</a:t>
              </a:r>
              <a:r>
                <a:rPr lang="ar-EG" sz="16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)</a:t>
              </a:r>
              <a:endParaRPr lang="en-US" sz="1600" dirty="0" smtClean="0"/>
            </a:p>
            <a:p>
              <a:pPr algn="r" rtl="1"/>
              <a:r>
                <a:rPr lang="ar-SA" sz="1600" dirty="0">
                  <a:solidFill>
                    <a:srgbClr val="FF0000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معدّل</a:t>
              </a:r>
              <a:endParaRPr lang="en-US" sz="1600" dirty="0" smtClean="0">
                <a:solidFill>
                  <a:srgbClr val="FF0000"/>
                </a:solidFill>
              </a:endParaRPr>
            </a:p>
            <a:p>
              <a:pPr algn="r" rtl="1"/>
              <a:r>
                <a:rPr lang="ar-SA" sz="1600" dirty="0">
                  <a:solidFill>
                    <a:srgbClr val="548235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جديد</a:t>
              </a:r>
              <a:endParaRPr lang="en-US" sz="1600" dirty="0" smtClean="0">
                <a:solidFill>
                  <a:srgbClr val="548235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9722717" y="5980938"/>
              <a:ext cx="108000" cy="10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8" name="Rectangle 7"/>
            <p:cNvSpPr/>
            <p:nvPr/>
          </p:nvSpPr>
          <p:spPr>
            <a:xfrm>
              <a:off x="9722717" y="6237312"/>
              <a:ext cx="108000" cy="108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9722717" y="6489352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</p:grp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3898355"/>
              </p:ext>
            </p:extLst>
          </p:nvPr>
        </p:nvGraphicFramePr>
        <p:xfrm>
          <a:off x="467544" y="980728"/>
          <a:ext cx="8039100" cy="46450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.I</a:t>
                      </a:r>
                      <a:r>
                        <a:rPr lang="ar-EG" sz="16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تعزيز </a:t>
                      </a:r>
                      <a:r>
                        <a:rPr lang="ar-EG" sz="1600" b="1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عاون</a:t>
                      </a:r>
                      <a:r>
                        <a:rPr lang="ar-EG" sz="160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الأوثق بين جميع أصحاب المصلحة في النظام الإيكولوجي لتكنولوجيا المعلومات والاتصالات من أجل تحقيق أهداف التنمية المستدامة</a:t>
                      </a:r>
                      <a:endParaRPr lang="en-US" sz="1400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1.I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زيادة التعاون بين أصحاب المصلحة المعنيين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1.I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زيادة التآزر الناتج عن الشراك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r" defTabSz="914400" rtl="1" eaLnBrk="1" fontAlgn="auto" latinLnBrk="0" hangingPunct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1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.I</a:t>
                      </a:r>
                      <a:r>
                        <a:rPr lang="ar-EG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زيادة الاعتراف بالاتصالات/تكنولوجيا المعلومات والاتصالات </a:t>
                      </a:r>
                      <a:r>
                        <a:rPr lang="ar-SY" sz="1600" strike="sng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على مستوى الأطراف المتعددة وعلى المستوى الحكومي الدولي، 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كأداة </a:t>
                      </a:r>
                      <a:r>
                        <a:rPr lang="ar-SY" sz="1600" dirty="0" err="1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مكينية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شاملة</a:t>
                      </a:r>
                      <a:r>
                        <a:rPr lang="ar-EG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Y" sz="16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خطة التنمية المستدامة </a:t>
                      </a:r>
                      <a:r>
                        <a:rPr lang="en-US" sz="11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030</a:t>
                      </a:r>
                      <a:r>
                        <a:rPr lang="ar-EG" sz="16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أهداف التنمية المستدامة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Y" sz="1600" strike="sng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لدعائم الثلاث للتنمية المستدامة (النمو الاقتصادي والاندماج الاجتماعي والتوازن البيئي) كما هو محدد في الوثيقة الختامية لمؤتمر الأمم المتحدة للتنمية المستدامة </a:t>
                      </a:r>
                      <a:r>
                        <a:rPr lang="en-US" sz="1050" strike="sng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Rio+20</a:t>
                      </a:r>
                      <a:r>
                        <a:rPr lang="ar-SY" sz="1600" strike="sng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دعماً لرسالة الأمم المتحدة المتمثلة في السلم والأمن وحقوق الإنسان</a:t>
                      </a:r>
                      <a:endParaRPr lang="ar-EG" sz="1600" strike="sngStrike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marL="0" marR="0" lvl="0" indent="0" algn="r" defTabSz="914400" rtl="1" eaLnBrk="1" fontAlgn="auto" latinLnBrk="0" hangingPunct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-1.I</a:t>
                      </a:r>
                      <a:r>
                        <a:rPr lang="ar-EG" sz="1600" dirty="0" smtClean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تعزيز دعم الشركات الصغيرة والمتوسطة العاملة في مجال التكنولوجيا التي تقوم بتطوير وتقديم منتجات وخدمات تكنولوجيا المعلومات والاتصالات</a:t>
                      </a:r>
                      <a:endParaRPr lang="en-US" sz="1400" dirty="0" smtClean="0">
                        <a:solidFill>
                          <a:srgbClr val="548235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marL="0" marR="0" lvl="0" indent="0" algn="r" defTabSz="914400" rtl="1" eaLnBrk="1" fontAlgn="auto" latinLnBrk="0" hangingPunct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ar-EG" sz="1600" strike="sngStrike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+mn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1.I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ؤتمرات 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عالمية ومنتديات وأحداث ومنابر مشتركة بين القطاعات لمناقشات رفيعة المستوى (مثل المؤتمر العالمي للاتصالات الدولية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WCIT)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المنتدى العالمي لسياسات الاتصالات/تكنولوجيا المعلومات والاتصالات 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WTPF)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القمة العالمية لمجتمع المعلومات 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WSIS)</a:t>
                      </a:r>
                      <a:r>
                        <a:rPr lang="ar-SY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وتليكوم </a:t>
                      </a:r>
                      <a:r>
                        <a:rPr lang="ar-SY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تحاد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+mn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1.I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بادل </a:t>
                      </a:r>
                      <a:r>
                        <a:rPr lang="ar-SA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عارف والتواصل والشراكات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effectLst/>
                          <a:latin typeface="+mn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1.I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ذكرات </a:t>
                      </a:r>
                      <a:r>
                        <a:rPr lang="ar-SA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فاهم </a:t>
                      </a:r>
                      <a:r>
                        <a:rPr lang="en-US" sz="1100" dirty="0"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MoU)</a:t>
                      </a:r>
                      <a:endParaRPr lang="en-US" sz="1400" dirty="0">
                        <a:effectLst/>
                        <a:latin typeface="+mj-lt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-1</a:t>
                      </a:r>
                      <a:r>
                        <a:rPr lang="en-US" sz="1100" dirty="0" smtClean="0">
                          <a:effectLst/>
                          <a:latin typeface="+mn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.I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dirty="0" smtClean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قارير </a:t>
                      </a:r>
                      <a:r>
                        <a:rPr lang="ar-SA" sz="1600" dirty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مدخلات أخرى لعمليات الأمم المتحدة المشتركة بين الوكالات والمتعددة الأطراف والحكومية الدولية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spc="-30" baseline="0" dirty="0" smtClean="0">
                          <a:solidFill>
                            <a:srgbClr val="548235"/>
                          </a:solidFill>
                          <a:effectLst/>
                          <a:latin typeface="+mn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5-1.I</a:t>
                      </a:r>
                      <a:r>
                        <a:rPr lang="ar-EG" sz="1600" spc="-30" baseline="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Y" sz="1600" spc="-30" baseline="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إنشاء </a:t>
                      </a:r>
                      <a:r>
                        <a:rPr lang="ar-SY" sz="1600" spc="-30" baseline="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خدمات الدعم من أجل الشركات الصغيرة والمتوسطة العاملة </a:t>
                      </a:r>
                      <a:r>
                        <a:rPr lang="ar-SY" sz="1600" spc="-30" baseline="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في </a:t>
                      </a:r>
                      <a:r>
                        <a:rPr lang="ar-SY" sz="1600" spc="-30" baseline="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جال التكنولوجيا في أنشطة الاتحاد وأحداثه</a:t>
                      </a:r>
                      <a:endParaRPr lang="en-US" sz="1400" spc="-30" baseline="0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473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Autofit/>
          </a:bodyPr>
          <a:lstStyle/>
          <a:p>
            <a:pPr algn="r" rtl="1"/>
            <a:r>
              <a:rPr lang="en-US" sz="2800" dirty="0" smtClean="0">
                <a:ea typeface="Times New Roman" panose="02020603050405020304" pitchFamily="18" charset="0"/>
                <a:cs typeface="Traditional Arabic" panose="02020603050405020304" pitchFamily="18" charset="-78"/>
              </a:rPr>
              <a:t>2.I</a:t>
            </a:r>
            <a:r>
              <a:rPr lang="ar-EG" sz="32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(</a:t>
            </a:r>
            <a:r>
              <a:rPr lang="ar-EG" sz="32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جاهات الناشئة في مجال تكنولوجيا المعلومات والاتصالات)</a:t>
            </a:r>
            <a:endParaRPr lang="en-US" sz="3200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1</a:t>
            </a:fld>
            <a:endParaRPr 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460145"/>
              </p:ext>
            </p:extLst>
          </p:nvPr>
        </p:nvGraphicFramePr>
        <p:xfrm>
          <a:off x="462574" y="1268760"/>
          <a:ext cx="8039100" cy="1644650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.I</a:t>
                      </a:r>
                      <a:r>
                        <a:rPr lang="ar-EG" sz="1600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EG" sz="1600" b="1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عزيز </a:t>
                      </a:r>
                      <a:r>
                        <a:rPr lang="ar-EG" sz="1600" b="1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تجاهات الناشئة </a:t>
                      </a:r>
                      <a:r>
                        <a:rPr lang="ar-EG" sz="1600" b="1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/>
                      </a:r>
                      <a:br>
                        <a:rPr lang="ar-EG" sz="1600" b="1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</a:br>
                      <a:r>
                        <a:rPr lang="ar-EG" sz="1600" b="1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في </a:t>
                      </a:r>
                      <a:r>
                        <a:rPr lang="ar-EG" sz="1600" b="1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جال تكنولوجيا المعلومات والاتصالات </a:t>
                      </a:r>
                      <a:r>
                        <a:rPr lang="ar-EG" sz="160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نهوض بها </a:t>
                      </a:r>
                      <a:r>
                        <a:rPr lang="ar-SA" sz="160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غية تسريع وتيرة تنفيذ </a:t>
                      </a:r>
                      <a:r>
                        <a:rPr lang="ar-EG" sz="160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أهداف التنمية المستدامة</a:t>
                      </a:r>
                      <a:endParaRPr lang="en-US" sz="1400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auto" latinLnBrk="0" hangingPunct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2</a:t>
                      </a:r>
                      <a:r>
                        <a:rPr lang="en-US" sz="1100" dirty="0"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.I</a:t>
                      </a:r>
                      <a:r>
                        <a:rPr lang="ar-EG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: </a:t>
                      </a:r>
                      <a:r>
                        <a:rPr lang="ar-SY" sz="16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تحديد الاتجاهات الناشئة في مجال الاتصالات/تكنولوجيا المعلومات والاتصالات في الوقت المناسب وتحليلها </a:t>
                      </a:r>
                      <a:r>
                        <a:rPr lang="ar-SY" sz="1600" dirty="0" smtClean="0">
                          <a:solidFill>
                            <a:srgbClr val="FF0000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لتوفير المعرفة والخبرة اللازمة </a:t>
                      </a:r>
                      <a:r>
                        <a:rPr lang="ar-SA" sz="1600" dirty="0" smtClean="0">
                          <a:solidFill>
                            <a:srgbClr val="FF0000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بغية تسريع وتيرة تنفيذ </a:t>
                      </a:r>
                      <a:r>
                        <a:rPr lang="ar-SY" sz="1600" dirty="0" smtClean="0">
                          <a:solidFill>
                            <a:srgbClr val="FF0000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أهداف التنمية المستدامة</a:t>
                      </a:r>
                      <a:r>
                        <a:rPr lang="ar-EG" sz="1600" dirty="0" smtClean="0">
                          <a:solidFill>
                            <a:srgbClr val="FF0000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Y" sz="1600" strike="sngStrik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واستنباط مجالات جديدة للأنشطة تتعلق بهذه الاتجاهات</a:t>
                      </a:r>
                      <a:endParaRPr lang="ar-EG" sz="1600" strike="sngStrike" dirty="0" smtClean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solidFill>
                            <a:srgbClr val="FF0000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2</a:t>
                      </a:r>
                      <a:r>
                        <a:rPr lang="en-US" sz="1100" dirty="0" smtClean="0"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.I</a:t>
                      </a:r>
                      <a:r>
                        <a:rPr lang="ar-EG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Y" sz="1600" dirty="0" smtClean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بادرات </a:t>
                      </a:r>
                      <a:r>
                        <a:rPr lang="ar-SY" sz="1600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تقارير مشتركة بين القطاعات بشأن الاتجاهات الناشئة في مجال الاتصالات/تكنولوجيا المعلومات والاتصالات وغير ذلك من مبادرات مماثلة (بما في ذلك مجلة أخبار الاتحاد)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</a:tbl>
          </a:graphicData>
        </a:graphic>
      </p:graphicFrame>
      <p:grpSp>
        <p:nvGrpSpPr>
          <p:cNvPr id="16" name="Group 15"/>
          <p:cNvGrpSpPr/>
          <p:nvPr/>
        </p:nvGrpSpPr>
        <p:grpSpPr>
          <a:xfrm>
            <a:off x="5294496" y="5805264"/>
            <a:ext cx="3165936" cy="830997"/>
            <a:chOff x="6664781" y="5877272"/>
            <a:chExt cx="3165936" cy="830997"/>
          </a:xfrm>
        </p:grpSpPr>
        <p:sp>
          <p:nvSpPr>
            <p:cNvPr id="17" name="TextBox 16"/>
            <p:cNvSpPr txBox="1"/>
            <p:nvPr/>
          </p:nvSpPr>
          <p:spPr>
            <a:xfrm>
              <a:off x="6664781" y="5877272"/>
              <a:ext cx="304282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rtl="1"/>
              <a:r>
                <a:rPr lang="ar-SA" sz="16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نص الحالي (في الخطة الاستراتيجية للفترة </a:t>
              </a:r>
              <a:r>
                <a:rPr lang="en-US" sz="11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2019-2016</a:t>
              </a:r>
              <a:r>
                <a:rPr lang="ar-EG" sz="16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)</a:t>
              </a:r>
              <a:endParaRPr lang="en-US" sz="1600" dirty="0" smtClean="0"/>
            </a:p>
            <a:p>
              <a:pPr algn="r" rtl="1"/>
              <a:r>
                <a:rPr lang="ar-SA" sz="1600" dirty="0">
                  <a:solidFill>
                    <a:srgbClr val="FF0000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معدّل</a:t>
              </a:r>
              <a:endParaRPr lang="en-US" sz="1600" dirty="0" smtClean="0">
                <a:solidFill>
                  <a:srgbClr val="FF0000"/>
                </a:solidFill>
              </a:endParaRPr>
            </a:p>
            <a:p>
              <a:pPr algn="r" rtl="1"/>
              <a:r>
                <a:rPr lang="ar-SA" sz="1600" dirty="0">
                  <a:solidFill>
                    <a:srgbClr val="548235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جديد</a:t>
              </a:r>
              <a:endParaRPr lang="en-US" sz="1600" dirty="0" smtClean="0">
                <a:solidFill>
                  <a:srgbClr val="548235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9722717" y="5980938"/>
              <a:ext cx="108000" cy="10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9722717" y="6237312"/>
              <a:ext cx="108000" cy="108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9722717" y="6489352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23883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3.I</a:t>
            </a:r>
            <a:r>
              <a:rPr lang="ar-EG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إمكانية النفاذ إلى تكنولوجيا المعلومات والاتصالات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2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5294496" y="5805264"/>
            <a:ext cx="3165936" cy="830997"/>
            <a:chOff x="6664781" y="5877272"/>
            <a:chExt cx="3165936" cy="830997"/>
          </a:xfrm>
        </p:grpSpPr>
        <p:sp>
          <p:nvSpPr>
            <p:cNvPr id="12" name="TextBox 11"/>
            <p:cNvSpPr txBox="1"/>
            <p:nvPr/>
          </p:nvSpPr>
          <p:spPr>
            <a:xfrm>
              <a:off x="6664781" y="5877272"/>
              <a:ext cx="304282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rtl="1"/>
              <a:r>
                <a:rPr lang="ar-SA" sz="16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نص الحالي (في الخطة الاستراتيجية للفترة </a:t>
              </a:r>
              <a:r>
                <a:rPr lang="en-US" sz="11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2019-2016</a:t>
              </a:r>
              <a:r>
                <a:rPr lang="ar-EG" sz="16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)</a:t>
              </a:r>
              <a:endParaRPr lang="en-US" sz="1600" dirty="0" smtClean="0"/>
            </a:p>
            <a:p>
              <a:pPr algn="r" rtl="1"/>
              <a:r>
                <a:rPr lang="ar-SA" sz="1600" dirty="0">
                  <a:solidFill>
                    <a:srgbClr val="FF0000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معدّل</a:t>
              </a:r>
              <a:endParaRPr lang="en-US" sz="1600" dirty="0" smtClean="0">
                <a:solidFill>
                  <a:srgbClr val="FF0000"/>
                </a:solidFill>
              </a:endParaRPr>
            </a:p>
            <a:p>
              <a:pPr algn="r" rtl="1"/>
              <a:r>
                <a:rPr lang="ar-SA" sz="1600" dirty="0">
                  <a:solidFill>
                    <a:srgbClr val="548235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جديد</a:t>
              </a:r>
              <a:endParaRPr lang="en-US" sz="1600" dirty="0" smtClean="0">
                <a:solidFill>
                  <a:srgbClr val="548235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9722717" y="5980938"/>
              <a:ext cx="108000" cy="10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9722717" y="6237312"/>
              <a:ext cx="108000" cy="108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9722717" y="6489352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</p:grp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4353356"/>
              </p:ext>
            </p:extLst>
          </p:nvPr>
        </p:nvGraphicFramePr>
        <p:xfrm>
          <a:off x="493340" y="1268760"/>
          <a:ext cx="8039100" cy="40608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.I</a:t>
                      </a:r>
                      <a:r>
                        <a:rPr lang="ar-EG" sz="1600" dirty="0" smtClean="0">
                          <a:solidFill>
                            <a:srgbClr val="FF0000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 </a:t>
                      </a:r>
                      <a:r>
                        <a:rPr lang="ar-SA" sz="16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عزيز </a:t>
                      </a:r>
                      <a:r>
                        <a:rPr lang="ar-SA" sz="16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نفاذ الأشخاص ذوي الإعاقة </a:t>
                      </a:r>
                      <a:r>
                        <a:rPr lang="ar-SA" sz="1600" strike="sngStrik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وذوي الاحتياجات </a:t>
                      </a:r>
                      <a:r>
                        <a:rPr lang="ar-EG" sz="1600" strike="sngStrik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محددة </a:t>
                      </a:r>
                      <a:r>
                        <a:rPr lang="ar-SA" sz="1600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إلى </a:t>
                      </a:r>
                      <a:r>
                        <a:rPr lang="ar-SA" sz="16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تصالات/تكنولوجيا المعلومات والاتصالات</a:t>
                      </a:r>
                      <a:endParaRPr lang="en-US" sz="14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3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.I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زيادة تيسر معدات الاتصالات/تكنولوجيا المعلومات والاتصالات وخدماتها وتطبيقاتها وامتثالها لمبادئ التصميم الشامل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3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.I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زيادة إشراك منظمات الأشخاص ذوي الإعاقة وذوي الاحتياجات المحددة في أعمال </a:t>
                      </a:r>
                      <a:r>
                        <a:rPr lang="ar-SA" sz="1600" dirty="0" smtClean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اتحاد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3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.I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زيادة الوعي، بما في ذلك اعتراف جميع الأطراف والحكومات بالحاجة إلى تعزيز نفاذ الأشخاص ذوي الإعاقة وذوي الاحتياجات المحددة إلى الاتصالات/تكنولوجيا المعلومات و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3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.I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تقارير ومبادئ توجيهية و</a:t>
                      </a:r>
                      <a:r>
                        <a:rPr lang="ar-SA" sz="16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عايير 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قوائم مرجعية بشأن قابلية النفاذ إلى الاتصالات/تكنولوجيا المعلومات والاتصالات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3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.I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تعبئة الموارد والخبرات التقنية من خلال على سبيل المثال تشجيع زيادة مشاركة الأشخاص ذوي الإعاقة وذوي الاحتياجات المحددة في الاجتماعات الدولية والإقليمية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strike="sng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5.I</a:t>
                      </a:r>
                      <a:r>
                        <a:rPr lang="ar-EG" sz="1600" strike="sng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مواصلة تطوير وتنفيذ سياسات الاتحاد المتعلقة بقابلية النفاذ والخطط ذات الصلة</a:t>
                      </a:r>
                      <a:endParaRPr lang="en-US" sz="1400" strike="sng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3</a:t>
                      </a: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.I</a:t>
                      </a:r>
                      <a:r>
                        <a:rPr lang="ar-SA" sz="16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التوعية على مستوى منظومة الأمم المتحدة وعلى الصعيدين الإقليمي والوطني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8901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37416"/>
            <a:ext cx="7612058" cy="573886"/>
          </a:xfrm>
        </p:spPr>
        <p:txBody>
          <a:bodyPr>
            <a:normAutofit fontScale="90000"/>
          </a:bodyPr>
          <a:lstStyle/>
          <a:p>
            <a:pPr algn="r" rtl="1"/>
            <a: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4.I</a:t>
            </a:r>
            <a:r>
              <a:rPr lang="ar-SA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مساواة بين الجنسين)</a:t>
            </a:r>
            <a:endParaRPr lang="en-US" sz="3100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3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5294496" y="5910371"/>
            <a:ext cx="3165936" cy="830997"/>
            <a:chOff x="6664781" y="5877272"/>
            <a:chExt cx="3165936" cy="830997"/>
          </a:xfrm>
        </p:grpSpPr>
        <p:sp>
          <p:nvSpPr>
            <p:cNvPr id="12" name="TextBox 11"/>
            <p:cNvSpPr txBox="1"/>
            <p:nvPr/>
          </p:nvSpPr>
          <p:spPr>
            <a:xfrm>
              <a:off x="6664781" y="5877272"/>
              <a:ext cx="304282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rtl="1"/>
              <a:r>
                <a:rPr lang="ar-SA" sz="16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نص الحالي (في الخطة الاستراتيجية للفترة </a:t>
              </a:r>
              <a:r>
                <a:rPr lang="en-US" sz="11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2019-2016</a:t>
              </a:r>
              <a:r>
                <a:rPr lang="ar-EG" sz="16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)</a:t>
              </a:r>
              <a:endParaRPr lang="en-US" sz="1600" dirty="0" smtClean="0"/>
            </a:p>
            <a:p>
              <a:pPr algn="r" rtl="1"/>
              <a:r>
                <a:rPr lang="ar-SA" sz="1600" dirty="0">
                  <a:solidFill>
                    <a:srgbClr val="FF0000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معدّل</a:t>
              </a:r>
              <a:endParaRPr lang="en-US" sz="1600" dirty="0" smtClean="0">
                <a:solidFill>
                  <a:srgbClr val="FF0000"/>
                </a:solidFill>
              </a:endParaRPr>
            </a:p>
            <a:p>
              <a:pPr algn="r" rtl="1"/>
              <a:r>
                <a:rPr lang="ar-SA" sz="1600" dirty="0">
                  <a:solidFill>
                    <a:srgbClr val="548235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جديد</a:t>
              </a:r>
              <a:endParaRPr lang="en-US" sz="1600" dirty="0" smtClean="0">
                <a:solidFill>
                  <a:srgbClr val="548235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9722717" y="5980938"/>
              <a:ext cx="108000" cy="10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9722717" y="6237312"/>
              <a:ext cx="108000" cy="108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9722717" y="6489352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</p:grp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0566573"/>
              </p:ext>
            </p:extLst>
          </p:nvPr>
        </p:nvGraphicFramePr>
        <p:xfrm>
          <a:off x="493340" y="1046962"/>
          <a:ext cx="8039100" cy="2598062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81597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 dirty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16465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</a:pPr>
                      <a:r>
                        <a:rPr lang="en-US" sz="1100" u="none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4.I</a:t>
                      </a:r>
                      <a:r>
                        <a:rPr lang="ar-EG" sz="1600" u="non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u="non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عزيز </a:t>
                      </a:r>
                      <a:r>
                        <a:rPr lang="ar-SA" sz="1600" u="none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ستخدام تكنولوجيا المعلومات والاتصالات من أجل تحقيق المساواة بين الجنسين وتمكين المرأة</a:t>
                      </a:r>
                      <a:endParaRPr lang="en-US" sz="1400" u="none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A" sz="1600" i="1" u="none" dirty="0"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العنوان)</a:t>
                      </a:r>
                      <a:endParaRPr lang="en-US" sz="1400" i="1" u="none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</a:pPr>
                      <a:r>
                        <a:rPr lang="en-US" sz="1100" u="none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4.I</a:t>
                      </a:r>
                      <a:r>
                        <a:rPr lang="ar-EG" sz="1600" u="non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kumimoji="0" lang="ar-EG" sz="1600" u="non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عزيز </a:t>
                      </a:r>
                      <a:r>
                        <a:rPr kumimoji="0" lang="ar-EG" sz="1600" u="non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نفاذ إلى تكنولوجيا المعلومات والاتصالات واستخدامها للنهوض بتمكين النساء </a:t>
                      </a: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u="none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4.I</a:t>
                      </a:r>
                      <a:r>
                        <a:rPr lang="ar-EG" sz="1600" u="non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kumimoji="0" lang="ar-EG" sz="1600" u="non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تعزيز </a:t>
                      </a:r>
                      <a:r>
                        <a:rPr kumimoji="0" lang="ar-EG" sz="1600" u="non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شاركة النساء </a:t>
                      </a:r>
                      <a:br>
                        <a:rPr kumimoji="0" lang="ar-EG" sz="1600" u="non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</a:br>
                      <a:r>
                        <a:rPr kumimoji="0" lang="ar-EG" sz="1600" u="non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في جميع مستويات صنع القرار في أعمال الاتحاد وقطاع تكنولوجيا </a:t>
                      </a:r>
                      <a:br>
                        <a:rPr kumimoji="0" lang="ar-EG" sz="1600" u="non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</a:br>
                      <a:r>
                        <a:rPr kumimoji="0" lang="ar-EG" sz="1600" u="non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علومات والاتصالات</a:t>
                      </a:r>
                      <a:endParaRPr kumimoji="0" lang="en-US" sz="1600" u="none" kern="1200" dirty="0" smtClean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u="none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4.I</a:t>
                      </a:r>
                      <a:r>
                        <a:rPr lang="ar-EG" sz="1600" u="non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kumimoji="0" lang="ar-EG" sz="1600" b="0" u="none" strike="noStrik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زيادة </a:t>
                      </a:r>
                      <a:r>
                        <a:rPr kumimoji="0" lang="ar-EG" sz="1600" b="0" u="none" strike="noStrik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عاون مع سائر منظمات الأمم المتحدة وأصحاب المصلحة المعنيين باستخدام تكنولوجيا المعلومات والاتصالات من أجل النهوض</a:t>
                      </a:r>
                      <a:r>
                        <a:rPr kumimoji="0" lang="ar-EG" sz="1600" b="0" u="none" strike="noStrike" kern="1200" baseline="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بتمكين </a:t>
                      </a:r>
                      <a:r>
                        <a:rPr kumimoji="0" lang="ar-EG" sz="1600" b="0" u="none" strike="noStrike" kern="1200" baseline="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نساء</a:t>
                      </a:r>
                      <a:endParaRPr lang="en-US" sz="1400" b="0" u="none" strike="sngStrike" dirty="0" smtClean="0">
                        <a:solidFill>
                          <a:srgbClr val="FF0000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</a:pPr>
                      <a:r>
                        <a:rPr lang="en-US" sz="1100" u="none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4.I</a:t>
                      </a:r>
                      <a:r>
                        <a:rPr lang="ar-EG" sz="1600" u="non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SA" sz="1600" u="non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جموعات </a:t>
                      </a:r>
                      <a:r>
                        <a:rPr lang="ar-SA" sz="1600" u="none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أدوات وأدوات التقييم والمبادئ التوجيهية اللازمة لوضع السياسات </a:t>
                      </a:r>
                      <a:r>
                        <a:rPr kumimoji="0" lang="ar-EG" sz="1600" u="none" strike="noStrik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تنمية </a:t>
                      </a:r>
                      <a:r>
                        <a:rPr kumimoji="0" lang="ar-EG" sz="1600" u="none" strike="noStrik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هارات وممارسات أخرى لتنفيذها</a:t>
                      </a:r>
                      <a:endParaRPr lang="en-US" sz="1400" u="none" strike="noStrike" dirty="0">
                        <a:solidFill>
                          <a:srgbClr val="FF0000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u="none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4.I</a:t>
                      </a:r>
                      <a:r>
                        <a:rPr lang="ar-EG" sz="1600" u="non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EG" sz="1600" u="non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</a:t>
                      </a:r>
                      <a:r>
                        <a:rPr lang="ar-SA" sz="1600" u="non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شبكات </a:t>
                      </a:r>
                      <a:r>
                        <a:rPr kumimoji="0" lang="ar-EG" sz="1600" u="none" strike="noStrik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تعاون </a:t>
                      </a:r>
                      <a:r>
                        <a:rPr kumimoji="0" lang="ar-EG" sz="1600" u="none" strike="noStrike" kern="12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مبادرات والشراكات</a:t>
                      </a:r>
                      <a:endParaRPr lang="en-US" sz="1400" u="none" strike="sngStrike" dirty="0">
                        <a:solidFill>
                          <a:srgbClr val="FF0000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u="none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4.I</a:t>
                      </a:r>
                      <a:r>
                        <a:rPr lang="ar-EG" sz="1600" u="non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</a:t>
                      </a:r>
                      <a:r>
                        <a:rPr lang="ar-EG" sz="1600" u="none" strike="noStrik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توعية </a:t>
                      </a:r>
                      <a:r>
                        <a:rPr lang="ar-EG" sz="1600" u="none" strike="noStrike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على مستوى منظومة</a:t>
                      </a:r>
                      <a:r>
                        <a:rPr lang="ar-EG" sz="1600" u="none" strike="noStrike" baseline="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الأمم المتحدة وعلى الصعيدين الإقليمي </a:t>
                      </a:r>
                      <a:r>
                        <a:rPr lang="ar-EG" sz="1600" u="none" strike="noStrike" baseline="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وطني</a:t>
                      </a:r>
                      <a:endParaRPr lang="en-US" sz="1400" u="none" strike="sngStrike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399488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Autofit/>
          </a:bodyPr>
          <a:lstStyle/>
          <a:p>
            <a:pPr algn="r" rtl="1"/>
            <a:r>
              <a:rPr lang="en-US" sz="36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5.I</a:t>
            </a:r>
            <a:r>
              <a:rPr lang="ar-EG" sz="40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استدامة البيئية)</a:t>
            </a:r>
            <a:endParaRPr lang="en-US" sz="4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4</a:t>
            </a:fld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5294496" y="5805264"/>
            <a:ext cx="3165936" cy="830997"/>
            <a:chOff x="6664781" y="5877272"/>
            <a:chExt cx="3165936" cy="830997"/>
          </a:xfrm>
        </p:grpSpPr>
        <p:sp>
          <p:nvSpPr>
            <p:cNvPr id="12" name="TextBox 11"/>
            <p:cNvSpPr txBox="1"/>
            <p:nvPr/>
          </p:nvSpPr>
          <p:spPr>
            <a:xfrm>
              <a:off x="6664781" y="5877272"/>
              <a:ext cx="304282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rtl="1"/>
              <a:r>
                <a:rPr lang="ar-SA" sz="16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النص الحالي (في الخطة الاستراتيجية للفترة </a:t>
              </a:r>
              <a:r>
                <a:rPr lang="en-US" sz="110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2019-2016</a:t>
              </a:r>
              <a:r>
                <a:rPr lang="ar-EG" sz="1600" dirty="0" smtClean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)</a:t>
              </a:r>
              <a:endParaRPr lang="en-US" sz="1600" dirty="0" smtClean="0"/>
            </a:p>
            <a:p>
              <a:pPr algn="r" rtl="1"/>
              <a:r>
                <a:rPr lang="ar-SA" sz="1600" dirty="0">
                  <a:solidFill>
                    <a:srgbClr val="FF0000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معدّل</a:t>
              </a:r>
              <a:endParaRPr lang="en-US" sz="1600" dirty="0" smtClean="0">
                <a:solidFill>
                  <a:srgbClr val="FF0000"/>
                </a:solidFill>
              </a:endParaRPr>
            </a:p>
            <a:p>
              <a:pPr algn="r" rtl="1"/>
              <a:r>
                <a:rPr lang="ar-SA" sz="1600" dirty="0">
                  <a:solidFill>
                    <a:srgbClr val="548235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جديد</a:t>
              </a:r>
              <a:endParaRPr lang="en-US" sz="1600" dirty="0" smtClean="0">
                <a:solidFill>
                  <a:srgbClr val="548235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9722717" y="5980938"/>
              <a:ext cx="108000" cy="10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9722717" y="6237312"/>
              <a:ext cx="108000" cy="108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9722717" y="6489352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endParaRPr lang="en-US"/>
            </a:p>
          </p:txBody>
        </p:sp>
      </p:grp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4355466"/>
              </p:ext>
            </p:extLst>
          </p:nvPr>
        </p:nvGraphicFramePr>
        <p:xfrm>
          <a:off x="493340" y="1251869"/>
          <a:ext cx="8039100" cy="2282825"/>
        </p:xfrm>
        <a:graphic>
          <a:graphicData uri="http://schemas.openxmlformats.org/drawingml/2006/table">
            <a:tbl>
              <a:tblPr rtl="1" firstRow="1" bandRow="1"/>
              <a:tblGrid>
                <a:gridCol w="1803400"/>
                <a:gridCol w="3962400"/>
                <a:gridCol w="2273300"/>
              </a:tblGrid>
              <a:tr h="266700"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SY" sz="1600" b="1" kern="1200" dirty="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هدف</a:t>
                      </a:r>
                      <a:endParaRPr lang="en-US" sz="1400" dirty="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تائج</a:t>
                      </a:r>
                      <a:endParaRPr lang="en-US" sz="140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b="1" kern="1200">
                          <a:solidFill>
                            <a:srgbClr val="000000"/>
                          </a:solidFill>
                          <a:effectLst/>
                          <a:latin typeface="Traditional Arabic" panose="02020603050405020304" pitchFamily="18" charset="-78"/>
                          <a:ea typeface="Times New Roman" panose="02020603050405020304" pitchFamily="18" charset="0"/>
                          <a:cs typeface="Traditional Arabic" panose="02020603050405020304" pitchFamily="18" charset="-78"/>
                        </a:rPr>
                        <a:t>النواتج</a:t>
                      </a:r>
                      <a:endParaRPr lang="en-US" sz="1400"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77950">
                <a:tc>
                  <a:txBody>
                    <a:bodyPr/>
                    <a:lstStyle/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i="1" dirty="0" smtClean="0">
                          <a:solidFill>
                            <a:schemeClr val="tx1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العنوان)</a:t>
                      </a: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5.I</a:t>
                      </a:r>
                      <a:r>
                        <a:rPr lang="ar-EG" sz="16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"الحد </a:t>
                      </a:r>
                      <a:r>
                        <a:rPr lang="ar-EG" sz="160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ن البصمة البيئية الناجمة عن قطاع الاتصالات/تكنولوجيا المعلومات </a:t>
                      </a:r>
                      <a:r>
                        <a:rPr lang="ar-EG" sz="16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اتصالات"</a:t>
                      </a:r>
                      <a:endParaRPr lang="en-US" sz="1400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auto" latinLnBrk="0" hangingPunct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EG" sz="1600" i="1" dirty="0" smtClean="0">
                          <a:solidFill>
                            <a:schemeClr val="tx1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مقترحات عمل)</a:t>
                      </a:r>
                      <a:endParaRPr lang="en-US" sz="1400" i="1" dirty="0" smtClean="0">
                        <a:solidFill>
                          <a:schemeClr val="tx1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5.I</a:t>
                      </a:r>
                      <a:r>
                        <a:rPr lang="ar-EG" sz="16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زيادة </a:t>
                      </a:r>
                      <a:r>
                        <a:rPr lang="ar-EG" sz="160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عدد المخلفات الإلكترونية التي يُعاد تدويرها</a:t>
                      </a:r>
                      <a:endParaRPr lang="en-US" sz="1400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5.I</a:t>
                      </a:r>
                      <a:r>
                        <a:rPr lang="ar-EG" sz="160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الحد من استهلاك الطاقة</a:t>
                      </a:r>
                      <a:endParaRPr lang="en-US" sz="1400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ar-EG" sz="1600" i="1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نص بديل)</a:t>
                      </a:r>
                      <a:endParaRPr lang="en-US" sz="1400" i="1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i="1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5.I</a:t>
                      </a:r>
                      <a:r>
                        <a:rPr lang="ar-EG" sz="1600" i="1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تحسين </a:t>
                      </a:r>
                      <a:r>
                        <a:rPr lang="ar-EG" sz="1600" i="1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كفاءة السياسات والمعايير البيئية</a:t>
                      </a:r>
                      <a:endParaRPr lang="en-US" sz="1400" i="1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i="1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5.I</a:t>
                      </a:r>
                      <a:r>
                        <a:rPr lang="ar-EG" sz="1600" i="1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تحسين </a:t>
                      </a:r>
                      <a:r>
                        <a:rPr lang="ar-EG" sz="1600" i="1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مؤشرات الأداء الرئيسية بشأن المدن الذكية </a:t>
                      </a:r>
                      <a:r>
                        <a:rPr lang="ar-EG" sz="1600" i="1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ستدامة</a:t>
                      </a:r>
                      <a:endParaRPr lang="en-US" sz="1400" i="1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auto" latinLnBrk="0" hangingPunct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EG" sz="1600" i="1" dirty="0" smtClean="0">
                          <a:solidFill>
                            <a:schemeClr val="tx1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(مقترحات عمل)</a:t>
                      </a:r>
                      <a:endParaRPr lang="en-US" sz="1400" i="1" dirty="0" smtClean="0">
                        <a:solidFill>
                          <a:schemeClr val="tx1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1-5.I</a:t>
                      </a:r>
                      <a:r>
                        <a:rPr lang="ar-EG" sz="16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الأمان </a:t>
                      </a:r>
                      <a:r>
                        <a:rPr lang="ar-EG" sz="160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الأداء البيئي لمعدات تكنولوجيا المعلومات والاتصالات ومرافقها (إدارة المخلفات الإلكترونية)</a:t>
                      </a:r>
                      <a:endParaRPr lang="en-US" sz="1400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2-5.I</a:t>
                      </a:r>
                      <a:r>
                        <a:rPr lang="ar-EG" sz="16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سياسات </a:t>
                      </a:r>
                      <a:r>
                        <a:rPr lang="ar-EG" sz="160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ومعايير بشأن كفاءة استهلاك الطاقة</a:t>
                      </a:r>
                      <a:endParaRPr lang="en-US" sz="1400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  <a:p>
                      <a:pPr algn="r" rtl="1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dirty="0" smtClean="0">
                          <a:solidFill>
                            <a:srgbClr val="548235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3-5.I</a:t>
                      </a:r>
                      <a:r>
                        <a:rPr lang="ar-EG" sz="16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 منصة </a:t>
                      </a:r>
                      <a:r>
                        <a:rPr lang="ar-EG" sz="1600" dirty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عالمية للمدن الذكية </a:t>
                      </a:r>
                      <a:r>
                        <a:rPr lang="ar-EG" sz="1600" dirty="0" smtClean="0">
                          <a:solidFill>
                            <a:srgbClr val="548235"/>
                          </a:solidFill>
                          <a:effectLst/>
                          <a:latin typeface="Traditional Arabic" panose="02020603050405020304" pitchFamily="18" charset="-78"/>
                          <a:ea typeface="SimSun" panose="02010600030101010101" pitchFamily="2" charset="-122"/>
                          <a:cs typeface="Traditional Arabic" panose="02020603050405020304" pitchFamily="18" charset="-78"/>
                        </a:rPr>
                        <a:t>المستدامة</a:t>
                      </a:r>
                      <a:endParaRPr lang="en-US" sz="1400" dirty="0">
                        <a:solidFill>
                          <a:srgbClr val="548235"/>
                        </a:solidFill>
                        <a:effectLst/>
                        <a:latin typeface="Traditional Arabic" panose="02020603050405020304" pitchFamily="18" charset="-78"/>
                        <a:ea typeface="SimSun" panose="02010600030101010101" pitchFamily="2" charset="-122"/>
                        <a:cs typeface="Traditional Arabic" panose="02020603050405020304" pitchFamily="18" charset="-78"/>
                      </a:endParaRPr>
                    </a:p>
                  </a:txBody>
                  <a:tcPr marL="56515" marR="56515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98BC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9876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78160"/>
            <a:ext cx="7703768" cy="990600"/>
          </a:xfrm>
        </p:spPr>
        <p:txBody>
          <a:bodyPr>
            <a:normAutofit/>
          </a:bodyPr>
          <a:lstStyle/>
          <a:p>
            <a:pPr rtl="1"/>
            <a:r>
              <a:rPr lang="ar-EG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هداف القطاعات مقابل عمل المكاتب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5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17912" y="1628800"/>
            <a:ext cx="8514528" cy="4495800"/>
          </a:xfrm>
        </p:spPr>
        <p:txBody>
          <a:bodyPr>
            <a:normAutofit/>
          </a:bodyPr>
          <a:lstStyle/>
          <a:p>
            <a:pPr algn="r" rtl="1"/>
            <a:r>
              <a:rPr lang="ar-EG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نوقش اقتراح في اجتماع فريق العمل التابع للمجلس والمعني بالخطتين المالية والاستراتيجية يفيد بالتمييز بين </a:t>
            </a:r>
            <a:r>
              <a:rPr lang="ar-EG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هداف القطاعات وأهداف (العوامل </a:t>
            </a:r>
            <a:r>
              <a:rPr lang="ar-EG" sz="3200" b="1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ة</a:t>
            </a:r>
            <a:r>
              <a:rPr lang="ar-EG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) </a:t>
            </a:r>
            <a:r>
              <a:rPr lang="ar-EG" sz="32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كاتب</a:t>
            </a:r>
            <a:endParaRPr lang="en-US" b="1" dirty="0" smtClean="0"/>
          </a:p>
          <a:p>
            <a:pPr marL="0" indent="0" algn="r" rtl="1">
              <a:buNone/>
            </a:pPr>
            <a:endParaRPr lang="en-US" dirty="0" smtClean="0"/>
          </a:p>
          <a:p>
            <a:pPr marL="0" lvl="0" indent="0" algn="r" rtl="1">
              <a:buClr>
                <a:srgbClr val="498BC9"/>
              </a:buClr>
              <a:buNone/>
            </a:pPr>
            <a:r>
              <a:rPr lang="ar-SA" sz="24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</a:t>
            </a:r>
            <a:r>
              <a:rPr lang="ar-EG" sz="2400" dirty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 </a:t>
            </a:r>
            <a:r>
              <a:rPr lang="ar-EG" sz="2400" dirty="0" smtClean="0">
                <a:solidFill>
                  <a:prstClr val="black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Wingdings" panose="05000000000000000000" pitchFamily="2" charset="2"/>
              </a:rPr>
              <a:t>ال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قترح </a:t>
            </a:r>
            <a:r>
              <a:rPr lang="ar-EG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ذو الصلة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:</a:t>
            </a:r>
            <a:endParaRPr lang="ar-EG" sz="2400" dirty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r" rtl="1"/>
            <a:r>
              <a:rPr lang="ar-EG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ستخدام </a:t>
            </a:r>
            <a:r>
              <a:rPr lang="ar-EG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فهوم </a:t>
            </a:r>
            <a:r>
              <a:rPr lang="ar-EG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العوامل </a:t>
            </a:r>
            <a:r>
              <a:rPr lang="ar-EG" sz="3200" b="1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ة</a:t>
            </a:r>
            <a:r>
              <a:rPr lang="ar-EG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"</a:t>
            </a:r>
            <a:r>
              <a:rPr lang="ar-EG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ن أجل </a:t>
            </a:r>
            <a:r>
              <a:rPr lang="ar-EG" sz="32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كاتب أيضاً</a:t>
            </a:r>
            <a:r>
              <a:rPr lang="ar-EG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، على غرار </a:t>
            </a:r>
            <a:r>
              <a:rPr lang="ar-EG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ا </a:t>
            </a:r>
            <a:r>
              <a:rPr lang="ar-EG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ستخدمته الأمانة العامة في إطار الخطة الاستراتيجية </a:t>
            </a:r>
            <a:r>
              <a:rPr lang="ar-EG" sz="3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لفترة</a:t>
            </a:r>
            <a:r>
              <a:rPr lang="en-US" sz="2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19-2016</a:t>
            </a:r>
            <a:r>
              <a:rPr lang="en-US" sz="3200" dirty="0" smtClean="0">
                <a:latin typeface="Traditional Arabic" panose="02020603050405020304" pitchFamily="18" charset="-78"/>
                <a:ea typeface="Times New Roman" panose="02020603050405020304" pitchFamily="18" charset="0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055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 rtl="1"/>
            <a:r>
              <a:rPr lang="ar-EG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وامل </a:t>
            </a:r>
            <a:r>
              <a:rPr lang="ar-EG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ة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240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1350"/>
          <a:stretch/>
        </p:blipFill>
        <p:spPr>
          <a:xfrm>
            <a:off x="35496" y="1340768"/>
            <a:ext cx="4867409" cy="54396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78160"/>
            <a:ext cx="7703768" cy="990600"/>
          </a:xfrm>
        </p:spPr>
        <p:txBody>
          <a:bodyPr>
            <a:noAutofit/>
          </a:bodyPr>
          <a:lstStyle/>
          <a:p>
            <a:r>
              <a:rPr lang="ar-EG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ثال: عمل الأمانة مقابل عمل الاتحاد في إطار أهداف التنمية المستدامة</a:t>
            </a: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7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5221160" y="1600200"/>
            <a:ext cx="3815336" cy="4495800"/>
          </a:xfrm>
        </p:spPr>
        <p:txBody>
          <a:bodyPr>
            <a:normAutofit/>
          </a:bodyPr>
          <a:lstStyle/>
          <a:p>
            <a:pPr algn="r" rtl="1"/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نهج </a:t>
            </a:r>
            <a:r>
              <a:rPr lang="ar-EG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يونيدو </a:t>
            </a:r>
            <a:r>
              <a:rPr lang="en-US" sz="1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UNIDO)</a:t>
            </a:r>
            <a:r>
              <a:rPr lang="ar-EG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(بالمقارنة مع الإطار الاستراتيجي للاتحاد)</a:t>
            </a:r>
            <a:endParaRPr lang="en-US" sz="2400" dirty="0"/>
          </a:p>
        </p:txBody>
      </p:sp>
      <p:sp>
        <p:nvSpPr>
          <p:cNvPr id="6" name="Left Brace 5"/>
          <p:cNvSpPr/>
          <p:nvPr/>
        </p:nvSpPr>
        <p:spPr>
          <a:xfrm flipH="1">
            <a:off x="5118929" y="4149080"/>
            <a:ext cx="317167" cy="2448272"/>
          </a:xfrm>
          <a:prstGeom prst="leftBrace">
            <a:avLst>
              <a:gd name="adj1" fmla="val 8333"/>
              <a:gd name="adj2" fmla="val 32493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Left Brace 10"/>
          <p:cNvSpPr/>
          <p:nvPr/>
        </p:nvSpPr>
        <p:spPr>
          <a:xfrm flipH="1">
            <a:off x="4902905" y="1504692"/>
            <a:ext cx="317167" cy="2644388"/>
          </a:xfrm>
          <a:prstGeom prst="leftBrace">
            <a:avLst>
              <a:gd name="adj1" fmla="val 8333"/>
              <a:gd name="adj2" fmla="val 86740"/>
            </a:avLst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432576" y="4581128"/>
            <a:ext cx="111921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ar-EG" sz="2000" b="1" dirty="0" smtClean="0">
                <a:solidFill>
                  <a:schemeClr val="accent2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أمانة الاتحاد/</a:t>
            </a:r>
            <a:br>
              <a:rPr lang="ar-EG" sz="2000" b="1" dirty="0" smtClean="0">
                <a:solidFill>
                  <a:schemeClr val="accent2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</a:br>
            <a:r>
              <a:rPr lang="ar-EG" sz="2000" b="1" dirty="0" smtClean="0">
                <a:solidFill>
                  <a:schemeClr val="accent2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لمكاتب</a:t>
            </a:r>
            <a:endParaRPr lang="en-US" sz="2000" b="1" dirty="0">
              <a:solidFill>
                <a:schemeClr val="accent2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69320" y="3647728"/>
            <a:ext cx="13147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ar-EG" sz="2000" b="1" dirty="0" smtClean="0">
                <a:solidFill>
                  <a:schemeClr val="accent6"/>
                </a:solidFill>
                <a:latin typeface="Traditional Arabic" panose="02020603050405020304" pitchFamily="18" charset="-78"/>
                <a:cs typeface="Traditional Arabic" panose="02020603050405020304" pitchFamily="18" charset="-78"/>
              </a:rPr>
              <a:t>قطاعات الاتحاد</a:t>
            </a:r>
            <a:endParaRPr lang="en-US" sz="2000" b="1" dirty="0">
              <a:solidFill>
                <a:schemeClr val="accent6"/>
              </a:solidFill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3208" y="3068960"/>
            <a:ext cx="2273288" cy="2449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324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382" y="228600"/>
            <a:ext cx="7612058" cy="573886"/>
          </a:xfrm>
        </p:spPr>
        <p:txBody>
          <a:bodyPr>
            <a:noAutofit/>
          </a:bodyPr>
          <a:lstStyle/>
          <a:p>
            <a:pPr algn="r" rtl="1"/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وامل </a:t>
            </a:r>
            <a:r>
              <a:rPr lang="ar-SA" sz="3200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ة</a:t>
            </a:r>
            <a:r>
              <a:rPr lang="ar-SA" sz="3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- دور الأمانة العامة والمكاتب</a:t>
            </a: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8</a:t>
            </a:fld>
            <a:endParaRPr lang="en-US" dirty="0"/>
          </a:p>
        </p:txBody>
      </p:sp>
      <p:sp>
        <p:nvSpPr>
          <p:cNvPr id="34" name="Content Placeholder 33"/>
          <p:cNvSpPr>
            <a:spLocks noGrp="1"/>
          </p:cNvSpPr>
          <p:nvPr>
            <p:ph idx="1"/>
          </p:nvPr>
        </p:nvSpPr>
        <p:spPr>
          <a:xfrm>
            <a:off x="343036" y="5512438"/>
            <a:ext cx="8153400" cy="1225822"/>
          </a:xfrm>
        </p:spPr>
        <p:txBody>
          <a:bodyPr>
            <a:noAutofit/>
          </a:bodyPr>
          <a:lstStyle/>
          <a:p>
            <a:pPr algn="r" rtl="1"/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وفر المكاتب</a:t>
            </a: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العوامل </a:t>
            </a:r>
            <a:r>
              <a:rPr lang="ar-EG" sz="2400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ة</a:t>
            </a: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أيضاً وليس </a:t>
            </a:r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مانة العامة</a:t>
            </a: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فحسب</a:t>
            </a:r>
            <a:endParaRPr lang="en-US" sz="2400" b="1" dirty="0" smtClean="0"/>
          </a:p>
          <a:p>
            <a:pPr algn="r" rtl="1"/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سيتم وصف </a:t>
            </a:r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عمل (وأهداف) المكاتب</a:t>
            </a: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على نحو مماثل للطريقة التي ستصف بها الأمانة العامة كيفية مساهمة </a:t>
            </a:r>
            <a:r>
              <a:rPr lang="ar-EG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وامل </a:t>
            </a:r>
            <a:r>
              <a:rPr lang="ar-EG" sz="2400" b="1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ة</a:t>
            </a:r>
            <a:r>
              <a:rPr lang="ar-EG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في تحقيق الغايات والأهداف العامة </a:t>
            </a:r>
            <a:endParaRPr lang="en-US" sz="2400" dirty="0"/>
          </a:p>
        </p:txBody>
      </p:sp>
      <p:sp>
        <p:nvSpPr>
          <p:cNvPr id="6" name="Up Arrow 5"/>
          <p:cNvSpPr/>
          <p:nvPr/>
        </p:nvSpPr>
        <p:spPr>
          <a:xfrm>
            <a:off x="3059832" y="4016988"/>
            <a:ext cx="3096344" cy="301087"/>
          </a:xfrm>
          <a:prstGeom prst="upArrow">
            <a:avLst>
              <a:gd name="adj1" fmla="val 50000"/>
              <a:gd name="adj2" fmla="val 70247"/>
            </a:avLst>
          </a:prstGeom>
          <a:solidFill>
            <a:schemeClr val="accent1">
              <a:lumMod val="40000"/>
              <a:lumOff val="6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/>
          </a:p>
        </p:txBody>
      </p:sp>
      <p:sp>
        <p:nvSpPr>
          <p:cNvPr id="7" name="Rectangle 6"/>
          <p:cNvSpPr/>
          <p:nvPr/>
        </p:nvSpPr>
        <p:spPr>
          <a:xfrm>
            <a:off x="647565" y="4311267"/>
            <a:ext cx="7848872" cy="11390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80000"/>
              </a:lnSpc>
            </a:pPr>
            <a:r>
              <a:rPr lang="ar-SA" sz="1600" b="1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حاد الدولي </a:t>
            </a:r>
            <a:r>
              <a:rPr lang="ar-SA" sz="16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لاتصالات</a:t>
            </a:r>
            <a:r>
              <a:rPr lang="ar-EG" sz="16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6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1600" b="1" dirty="0" smtClean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مانة</a:t>
            </a:r>
            <a:endParaRPr lang="en-US" sz="1600" b="1" dirty="0" smtClean="0">
              <a:solidFill>
                <a:srgbClr val="44546A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47565" y="3426763"/>
            <a:ext cx="7848872" cy="505445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b="1" dirty="0"/>
          </a:p>
        </p:txBody>
      </p:sp>
      <p:sp>
        <p:nvSpPr>
          <p:cNvPr id="9" name="Rectangle 8"/>
          <p:cNvSpPr/>
          <p:nvPr/>
        </p:nvSpPr>
        <p:spPr>
          <a:xfrm>
            <a:off x="647563" y="1700808"/>
            <a:ext cx="7848873" cy="731821"/>
          </a:xfrm>
          <a:prstGeom prst="rect">
            <a:avLst/>
          </a:prstGeom>
          <a:noFill/>
          <a:ln w="3175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89663" algn="r" rtl="1"/>
            <a:r>
              <a:rPr lang="ar-SA" b="1" dirty="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غايات الاستراتيجية والمقاصد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47564" y="2549612"/>
            <a:ext cx="1908000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1"/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قطاع الاتصالات الراديوية</a:t>
            </a:r>
            <a:b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والنتائج</a:t>
            </a:r>
            <a:endParaRPr lang="en-US" sz="1500" b="1" dirty="0"/>
          </a:p>
        </p:txBody>
      </p:sp>
      <p:sp>
        <p:nvSpPr>
          <p:cNvPr id="11" name="Rectangle 10"/>
          <p:cNvSpPr/>
          <p:nvPr/>
        </p:nvSpPr>
        <p:spPr>
          <a:xfrm>
            <a:off x="2627996" y="2549612"/>
            <a:ext cx="1908000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1"/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قطاع تقييس </a:t>
            </a: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صالات</a:t>
            </a:r>
            <a:r>
              <a:rPr lang="en-US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en-US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والنتائج</a:t>
            </a:r>
            <a:endParaRPr lang="en-US" sz="1500" b="1" dirty="0"/>
          </a:p>
        </p:txBody>
      </p:sp>
      <p:sp>
        <p:nvSpPr>
          <p:cNvPr id="12" name="Rectangle 11"/>
          <p:cNvSpPr/>
          <p:nvPr/>
        </p:nvSpPr>
        <p:spPr>
          <a:xfrm>
            <a:off x="4608004" y="2549612"/>
            <a:ext cx="1908000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1"/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قطاع تنمية </a:t>
            </a: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صالات</a:t>
            </a:r>
            <a:r>
              <a:rPr lang="ar-EG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والنتائج</a:t>
            </a:r>
            <a:endParaRPr lang="en-US" sz="1500" b="1" dirty="0"/>
          </a:p>
        </p:txBody>
      </p:sp>
      <p:sp>
        <p:nvSpPr>
          <p:cNvPr id="13" name="Rectangle 12"/>
          <p:cNvSpPr/>
          <p:nvPr/>
        </p:nvSpPr>
        <p:spPr>
          <a:xfrm>
            <a:off x="6588436" y="2549612"/>
            <a:ext cx="1908000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1"/>
            <a:r>
              <a:rPr lang="ar-SA" sz="16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هداف </a:t>
            </a:r>
            <a:r>
              <a:rPr lang="ar-SA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نتائج</a:t>
            </a:r>
            <a:r>
              <a:rPr lang="ar-EG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br>
              <a:rPr lang="ar-EG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16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شتركة بين القطاعات</a:t>
            </a:r>
            <a:endParaRPr lang="en-US" sz="1500" b="1" dirty="0"/>
          </a:p>
        </p:txBody>
      </p:sp>
      <p:sp>
        <p:nvSpPr>
          <p:cNvPr id="14" name="Isosceles Triangle 11"/>
          <p:cNvSpPr/>
          <p:nvPr/>
        </p:nvSpPr>
        <p:spPr>
          <a:xfrm>
            <a:off x="647564" y="987530"/>
            <a:ext cx="7848872" cy="657618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رؤية الاتحاد ورسالته</a:t>
            </a:r>
            <a:endParaRPr lang="en-US" sz="2400" b="1" dirty="0"/>
          </a:p>
        </p:txBody>
      </p:sp>
      <p:sp>
        <p:nvSpPr>
          <p:cNvPr id="15" name="Arc 14"/>
          <p:cNvSpPr/>
          <p:nvPr/>
        </p:nvSpPr>
        <p:spPr>
          <a:xfrm rot="10800000">
            <a:off x="1446896" y="4226204"/>
            <a:ext cx="5789400" cy="1121538"/>
          </a:xfrm>
          <a:prstGeom prst="arc">
            <a:avLst>
              <a:gd name="adj1" fmla="val 11627524"/>
              <a:gd name="adj2" fmla="val 21527746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Arc 15"/>
          <p:cNvSpPr/>
          <p:nvPr/>
        </p:nvSpPr>
        <p:spPr>
          <a:xfrm rot="10800000">
            <a:off x="3296818" y="4298217"/>
            <a:ext cx="3687449" cy="1008112"/>
          </a:xfrm>
          <a:prstGeom prst="arc">
            <a:avLst>
              <a:gd name="adj1" fmla="val 10933070"/>
              <a:gd name="adj2" fmla="val 21513184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Arc 16"/>
          <p:cNvSpPr/>
          <p:nvPr/>
        </p:nvSpPr>
        <p:spPr>
          <a:xfrm rot="10800000">
            <a:off x="5166557" y="4287315"/>
            <a:ext cx="1817709" cy="915421"/>
          </a:xfrm>
          <a:prstGeom prst="arc">
            <a:avLst>
              <a:gd name="adj1" fmla="val 14794445"/>
              <a:gd name="adj2" fmla="val 21298785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755996" y="3527056"/>
            <a:ext cx="7632448" cy="338554"/>
            <a:chOff x="827984" y="4392000"/>
            <a:chExt cx="7632448" cy="338554"/>
          </a:xfrm>
        </p:grpSpPr>
        <p:sp>
          <p:nvSpPr>
            <p:cNvPr id="19" name="TextBox 18"/>
            <p:cNvSpPr txBox="1"/>
            <p:nvPr/>
          </p:nvSpPr>
          <p:spPr>
            <a:xfrm>
              <a:off x="6660432" y="4392000"/>
              <a:ext cx="1800000" cy="338554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Ins="36000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ar-SA" sz="16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نواتج مشتركة بين القطاعات</a:t>
              </a:r>
              <a:endParaRPr lang="en-US" sz="1500" b="1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716216" y="4392000"/>
              <a:ext cx="1800000" cy="338554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ar-SA" sz="1600" b="1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نواتج قطاع تنمية الاتصالات</a:t>
              </a:r>
              <a:endParaRPr lang="en-US" sz="1500" b="1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772000" y="4392000"/>
              <a:ext cx="1800000" cy="338554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ar-SA" sz="1600" b="1" spc="-4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نواتج قطاع تقييس الاتصالات</a:t>
              </a:r>
              <a:endParaRPr lang="en-US" sz="1500" b="1" spc="-40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827984" y="4392000"/>
              <a:ext cx="1800000" cy="338554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ar-SA" sz="1600" b="1" spc="-40" dirty="0">
                  <a:latin typeface="Calibri" panose="020F0502020204030204" pitchFamily="34" charset="0"/>
                  <a:ea typeface="Times New Roman" panose="02020603050405020304" pitchFamily="18" charset="0"/>
                  <a:cs typeface="Traditional Arabic" panose="02020603050405020304" pitchFamily="18" charset="-78"/>
                </a:rPr>
                <a:t>نواتج قطاع الاتصالات الراديوية</a:t>
              </a:r>
              <a:endParaRPr lang="en-US" sz="1600" b="1" spc="-40" dirty="0"/>
            </a:p>
          </p:txBody>
        </p:sp>
      </p:grpSp>
      <p:sp>
        <p:nvSpPr>
          <p:cNvPr id="23" name="Arc 22"/>
          <p:cNvSpPr/>
          <p:nvPr/>
        </p:nvSpPr>
        <p:spPr>
          <a:xfrm rot="10800000">
            <a:off x="6408204" y="4442234"/>
            <a:ext cx="652071" cy="550640"/>
          </a:xfrm>
          <a:prstGeom prst="arc">
            <a:avLst>
              <a:gd name="adj1" fmla="val 13997088"/>
              <a:gd name="adj2" fmla="val 20243020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p Arrow 23"/>
          <p:cNvSpPr/>
          <p:nvPr/>
        </p:nvSpPr>
        <p:spPr>
          <a:xfrm>
            <a:off x="3023828" y="3125676"/>
            <a:ext cx="3096344" cy="301087"/>
          </a:xfrm>
          <a:prstGeom prst="upArrow">
            <a:avLst>
              <a:gd name="adj1" fmla="val 50000"/>
              <a:gd name="adj2" fmla="val 70247"/>
            </a:avLst>
          </a:prstGeom>
          <a:solidFill>
            <a:schemeClr val="accent1">
              <a:lumMod val="40000"/>
              <a:lumOff val="6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75389" y="1716333"/>
            <a:ext cx="1250094" cy="719566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01936" y="1716116"/>
            <a:ext cx="1250846" cy="72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TextBox 27"/>
          <p:cNvSpPr txBox="1"/>
          <p:nvPr/>
        </p:nvSpPr>
        <p:spPr>
          <a:xfrm>
            <a:off x="791580" y="4467652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ar-SA" sz="1400" b="1" spc="-60" dirty="0">
                <a:solidFill>
                  <a:srgbClr val="44546A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كتب الاتصالات الراديوية</a:t>
            </a:r>
            <a:endParaRPr lang="en-US" sz="1400" b="1" spc="-60" dirty="0">
              <a:solidFill>
                <a:srgbClr val="44546A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483768" y="4467652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ar-SA" sz="1400" spc="-4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كتب تقييس الاتصالات</a:t>
            </a:r>
            <a:endParaRPr lang="en-US" sz="1400" spc="-40" dirty="0"/>
          </a:p>
        </p:txBody>
      </p:sp>
      <p:sp>
        <p:nvSpPr>
          <p:cNvPr id="30" name="TextBox 29"/>
          <p:cNvSpPr txBox="1"/>
          <p:nvPr/>
        </p:nvSpPr>
        <p:spPr>
          <a:xfrm>
            <a:off x="4211960" y="4469026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ar-SA" sz="1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كتب تنمية الاتصالات</a:t>
            </a:r>
            <a:endParaRPr lang="en-US" sz="1400" dirty="0"/>
          </a:p>
        </p:txBody>
      </p:sp>
      <p:sp>
        <p:nvSpPr>
          <p:cNvPr id="31" name="TextBox 30"/>
          <p:cNvSpPr txBox="1"/>
          <p:nvPr/>
        </p:nvSpPr>
        <p:spPr>
          <a:xfrm>
            <a:off x="5868144" y="4469026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ar-SA" sz="1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أمانة العامة</a:t>
            </a:r>
            <a:endParaRPr lang="en-US" sz="1400" dirty="0"/>
          </a:p>
        </p:txBody>
      </p:sp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36428" y="1717621"/>
            <a:ext cx="1253930" cy="718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67889" y="1715558"/>
            <a:ext cx="1253930" cy="718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3710110" y="3916213"/>
            <a:ext cx="1805301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ar-SA" sz="2800" b="1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وامل </a:t>
            </a:r>
            <a:r>
              <a:rPr lang="ar-SA" sz="2800" b="1" dirty="0" err="1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ة</a:t>
            </a:r>
            <a:endParaRPr lang="ar-EG" sz="2800" b="1" dirty="0" smtClean="0">
              <a:solidFill>
                <a:srgbClr val="FF0000"/>
              </a:solidFill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ctr"/>
            <a:endParaRPr lang="en-US" sz="2800" b="1" dirty="0">
              <a:solidFill>
                <a:srgbClr val="FF0000"/>
              </a:solidFill>
              <a:effectLst>
                <a:innerShdw blurRad="63500" dist="50800" dir="18900000">
                  <a:prstClr val="black">
                    <a:alpha val="75000"/>
                  </a:prstClr>
                </a:innerShdw>
              </a:effectLst>
            </a:endParaRPr>
          </a:p>
          <a:p>
            <a:pPr algn="ctr"/>
            <a:r>
              <a:rPr lang="ar-SA" sz="2800" b="1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خدمات الدعم</a:t>
            </a:r>
            <a:endParaRPr lang="en-US" sz="2800" b="1" dirty="0">
              <a:solidFill>
                <a:srgbClr val="FF0000"/>
              </a:solidFill>
              <a:effectLst>
                <a:innerShdw blurRad="63500" dist="50800" dir="18900000">
                  <a:prstClr val="black">
                    <a:alpha val="75000"/>
                  </a:prst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78134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28600"/>
            <a:ext cx="7703768" cy="990600"/>
          </a:xfrm>
        </p:spPr>
        <p:txBody>
          <a:bodyPr>
            <a:normAutofit fontScale="90000"/>
          </a:bodyPr>
          <a:lstStyle/>
          <a:p>
            <a:pPr rtl="1"/>
            <a:r>
              <a:rPr lang="ar-SA" sz="49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دروس المستفادة من الخطة الاستراتيجية </a:t>
            </a:r>
            <a:r>
              <a:rPr lang="ar-EG" sz="49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49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49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لفترة 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19-2016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7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683568" y="1600200"/>
            <a:ext cx="7865368" cy="4495800"/>
          </a:xfrm>
        </p:spPr>
        <p:txBody>
          <a:bodyPr>
            <a:normAutofit fontScale="92500" lnSpcReduction="10000"/>
          </a:bodyPr>
          <a:lstStyle/>
          <a:p>
            <a:pPr algn="just" rtl="1">
              <a:spcBef>
                <a:spcPts val="1200"/>
              </a:spcBef>
            </a:pP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جموعة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غايات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مقاصد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على مستوى 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تحاد</a:t>
            </a:r>
            <a:endParaRPr lang="en-US" sz="2400" b="1" dirty="0"/>
          </a:p>
          <a:p>
            <a:pPr lvl="1" algn="just" rtl="1"/>
            <a:r>
              <a:rPr lang="ar-SA" sz="2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غايات العامة المعلنة للاتحاد </a:t>
            </a:r>
            <a:r>
              <a:rPr lang="en-US" sz="2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  <a:sym typeface="Symbol" panose="05050102010706020507" pitchFamily="18" charset="2"/>
              </a:rPr>
              <a:t></a:t>
            </a:r>
            <a:r>
              <a:rPr lang="ar-SA" sz="2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رنامج التوصيل لعام </a:t>
            </a:r>
            <a:r>
              <a:rPr lang="en-US" sz="19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endParaRPr lang="en-US" sz="1900" dirty="0"/>
          </a:p>
          <a:p>
            <a:pPr algn="just" rtl="1">
              <a:spcBef>
                <a:spcPts val="1800"/>
              </a:spcBef>
            </a:pP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راقبة </a:t>
            </a:r>
            <a:r>
              <a:rPr lang="ar-SA" sz="24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الإبلاغ</a:t>
            </a:r>
            <a:endParaRPr lang="en-US" sz="2400" b="1" dirty="0"/>
          </a:p>
          <a:p>
            <a:pPr lvl="1" algn="just" rtl="1"/>
            <a:r>
              <a:rPr lang="ar-SA" sz="2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انفتاح والشفافية في الإبلاغ علناً عن التقدم المحرز إزاء مؤشرات الأداء </a:t>
            </a:r>
            <a:r>
              <a:rPr lang="ar-SA" sz="2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رئيسية</a:t>
            </a:r>
            <a:endParaRPr lang="en-US" sz="2200" dirty="0" smtClean="0"/>
          </a:p>
          <a:p>
            <a:pPr lvl="1" algn="just" rtl="1"/>
            <a:r>
              <a:rPr lang="ar-SA" sz="22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قرير المرحلي السنوي </a:t>
            </a:r>
            <a:r>
              <a:rPr lang="ar-SA" sz="22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لاتحاد</a:t>
            </a:r>
            <a:endParaRPr lang="en-US" sz="2200" dirty="0"/>
          </a:p>
          <a:p>
            <a:pPr lvl="2" algn="just" rtl="1"/>
            <a:r>
              <a:rPr lang="ar-SA" sz="19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إمكانية استعراض نسق </a:t>
            </a:r>
            <a:r>
              <a:rPr lang="ar-SA" sz="19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إبلاغ</a:t>
            </a:r>
            <a:endParaRPr lang="en-US" sz="1900" dirty="0"/>
          </a:p>
          <a:p>
            <a:pPr algn="just" rtl="1">
              <a:spcBef>
                <a:spcPts val="1800"/>
              </a:spcBef>
            </a:pP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ؤشرات: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ضرورة استعراض وإعداد مؤشرات أكثر </a:t>
            </a: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دقة/أنسب</a:t>
            </a:r>
            <a:endParaRPr lang="ar-EG" sz="2400" dirty="0" smtClean="0">
              <a:latin typeface="Calibri" panose="020F0502020204030204" pitchFamily="34" charset="0"/>
              <a:ea typeface="Times New Roman" panose="02020603050405020304" pitchFamily="18" charset="0"/>
              <a:cs typeface="Traditional Arabic" panose="02020603050405020304" pitchFamily="18" charset="-78"/>
            </a:endParaRPr>
          </a:p>
          <a:p>
            <a:pPr algn="just" rtl="1">
              <a:spcBef>
                <a:spcPts val="1800"/>
              </a:spcBef>
            </a:pPr>
            <a:r>
              <a:rPr lang="ar-SA" sz="24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استعراض </a:t>
            </a:r>
            <a:r>
              <a:rPr lang="ar-SA" sz="24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دقيق لحالة مقاصد برنامج التوصيل </a:t>
            </a:r>
            <a:r>
              <a:rPr lang="ar-SA" sz="2400" b="1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لعام</a:t>
            </a:r>
            <a:r>
              <a:rPr lang="en-US" sz="1900" b="1" dirty="0" smtClean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2020</a:t>
            </a:r>
            <a:r>
              <a:rPr lang="en-US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من </a:t>
            </a:r>
            <a:r>
              <a:rPr lang="ar-EG" sz="24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شأنه أن يدعم وضع مجموعة </a:t>
            </a: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EG" sz="24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المقاصد الجديدة</a:t>
            </a:r>
          </a:p>
          <a:p>
            <a:pPr algn="just" rtl="1">
              <a:spcBef>
                <a:spcPts val="1800"/>
              </a:spcBef>
            </a:pPr>
            <a:r>
              <a:rPr lang="ar-SA" sz="24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ا 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هي مجالات </a:t>
            </a:r>
            <a:r>
              <a:rPr lang="ar-SA" sz="24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حسين الأخرى</a:t>
            </a:r>
            <a:r>
              <a:rPr lang="ar-SA" sz="24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؟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372279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28600"/>
            <a:ext cx="7703768" cy="990600"/>
          </a:xfrm>
        </p:spPr>
        <p:txBody>
          <a:bodyPr/>
          <a:lstStyle/>
          <a:p>
            <a:pPr rtl="1"/>
            <a:r>
              <a:rPr lang="ar-SA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تحليل استراتيجي/تحليل الحالة</a:t>
            </a:r>
            <a:endParaRPr lang="en-US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 rtl="1"/>
            <a:fld id="{DDD2957A-38BF-4766-88FD-46AF2F4ED65D}" type="slidenum">
              <a:rPr lang="en-US" smtClean="0"/>
              <a:pPr rtl="1"/>
              <a:t>8</a:t>
            </a:fld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"/>
          </p:nvPr>
        </p:nvSpPr>
        <p:spPr>
          <a:xfrm>
            <a:off x="395536" y="1600200"/>
            <a:ext cx="8153400" cy="4495800"/>
          </a:xfrm>
        </p:spPr>
        <p:txBody>
          <a:bodyPr>
            <a:normAutofit lnSpcReduction="10000"/>
          </a:bodyPr>
          <a:lstStyle/>
          <a:p>
            <a:pPr algn="r" rtl="1"/>
            <a:r>
              <a:rPr lang="ar-EG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عوامل داخلية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/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/>
            <a:r>
              <a:rPr lang="ar-EG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عوامل خارجية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r" rtl="1"/>
            <a:r>
              <a:rPr lang="ar-EG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سياسية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r" rtl="1"/>
            <a:r>
              <a:rPr lang="ar-EG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اقتصادية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r" rtl="1"/>
            <a:r>
              <a:rPr lang="ar-EG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اجتماعية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r" rtl="1"/>
            <a:r>
              <a:rPr lang="ar-EG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تكنولوجية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r" rtl="1"/>
            <a:r>
              <a:rPr lang="ar-EG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قانونية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r" rtl="1"/>
            <a:r>
              <a:rPr lang="ar-EG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بيئية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lvl="1" algn="r" rtl="1"/>
            <a:r>
              <a:rPr lang="ar-EG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تنظيمية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/>
            <a:endParaRPr lang="en-US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163903976"/>
              </p:ext>
            </p:extLst>
          </p:nvPr>
        </p:nvGraphicFramePr>
        <p:xfrm>
          <a:off x="251520" y="1713756"/>
          <a:ext cx="5256584" cy="3528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Up-Down Arrow 8"/>
          <p:cNvSpPr/>
          <p:nvPr/>
        </p:nvSpPr>
        <p:spPr>
          <a:xfrm>
            <a:off x="7380312" y="2060848"/>
            <a:ext cx="288032" cy="576064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/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1662007" y="6024736"/>
            <a:ext cx="2448272" cy="648072"/>
          </a:xfrm>
          <a:prstGeom prst="rect">
            <a:avLst/>
          </a:prstGeom>
        </p:spPr>
        <p:txBody>
          <a:bodyPr vert="horz">
            <a:norm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EG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شركاء رئيسيون</a:t>
            </a:r>
            <a:endParaRPr lang="en-US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algn="r" rtl="1"/>
            <a:endParaRPr lang="en-US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10" name="Up-Down Arrow 9"/>
          <p:cNvSpPr/>
          <p:nvPr/>
        </p:nvSpPr>
        <p:spPr>
          <a:xfrm>
            <a:off x="2742127" y="5448672"/>
            <a:ext cx="288032" cy="576064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297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8672" y="228600"/>
            <a:ext cx="7703768" cy="990600"/>
          </a:xfrm>
        </p:spPr>
        <p:txBody>
          <a:bodyPr/>
          <a:lstStyle/>
          <a:p>
            <a:r>
              <a:rPr lang="ar-EG" dirty="0" smtClean="0">
                <a:latin typeface="Traditional Arabic" panose="02020603050405020304" pitchFamily="18" charset="-78"/>
                <a:cs typeface="Traditional Arabic" panose="02020603050405020304" pitchFamily="18" charset="-78"/>
              </a:rPr>
              <a:t>مواطن القوة لدى الاتحاد</a:t>
            </a:r>
            <a:endParaRPr lang="en-US" dirty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9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539552" y="1600200"/>
            <a:ext cx="8009384" cy="4997152"/>
          </a:xfrm>
        </p:spPr>
        <p:txBody>
          <a:bodyPr>
            <a:noAutofit/>
          </a:bodyPr>
          <a:lstStyle/>
          <a:p>
            <a:pPr marL="252000" indent="-252000" algn="just" rtl="1">
              <a:spcBef>
                <a:spcPts val="1200"/>
              </a:spcBef>
              <a:buSzPct val="65000"/>
              <a:buFont typeface="+mj-lt"/>
              <a:buAutoNum type="arabicPeriod"/>
            </a:pPr>
            <a:r>
              <a:rPr lang="ar-SA" sz="1800" b="1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وكالة الأمم المتحدة المتخصصة في مجال تكنولوجيات المعلومات والاتصالات</a:t>
            </a:r>
            <a:r>
              <a:rPr lang="ar-SA" sz="1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، منظمة عريقة يمتد تاريخها/تراثها على </a:t>
            </a:r>
            <a:r>
              <a:rPr lang="ar-EG" sz="1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/>
            </a:r>
            <a:br>
              <a:rPr lang="ar-EG" sz="1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</a:br>
            <a:r>
              <a:rPr lang="ar-SA" sz="1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مدى </a:t>
            </a:r>
            <a:r>
              <a:rPr lang="en-US" sz="1500" dirty="0">
                <a:latin typeface="+mj-lt"/>
                <a:ea typeface="Times New Roman" panose="02020603050405020304" pitchFamily="18" charset="0"/>
                <a:cs typeface="Traditional Arabic" panose="02020603050405020304" pitchFamily="18" charset="-78"/>
              </a:rPr>
              <a:t>150</a:t>
            </a:r>
            <a:r>
              <a:rPr lang="ar-SA" sz="1800" dirty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800" dirty="0" smtClean="0">
                <a:latin typeface="Traditional Arabic" panose="02020603050405020304" pitchFamily="18" charset="-78"/>
                <a:ea typeface="Times New Roman" panose="02020603050405020304" pitchFamily="18" charset="0"/>
                <a:cs typeface="Traditional Arabic" panose="02020603050405020304" pitchFamily="18" charset="-78"/>
              </a:rPr>
              <a:t>عاماً</a:t>
            </a:r>
            <a:endParaRPr lang="en-US" sz="1800" dirty="0" smtClean="0">
              <a:latin typeface="Traditional Arabic" panose="02020603050405020304" pitchFamily="18" charset="-78"/>
              <a:cs typeface="Traditional Arabic" panose="02020603050405020304" pitchFamily="18" charset="-78"/>
            </a:endParaRPr>
          </a:p>
          <a:p>
            <a:pPr marL="252000" indent="-252000" algn="just" rtl="1">
              <a:spcBef>
                <a:spcPts val="1200"/>
              </a:spcBef>
              <a:buSzPct val="65000"/>
              <a:buFont typeface="+mj-lt"/>
              <a:buAutoNum type="arabicPeriod"/>
            </a:pP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دور ريادي في تنظيم استخدام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وارد تكنولوجيا المعلومات والاتصالات عالمياً من خلال وضع 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وائح ومعايير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يمكن تطبيقها على الصعيد </a:t>
            </a:r>
            <a:r>
              <a:rPr lang="ar-SA" sz="1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عالمي</a:t>
            </a:r>
            <a:endParaRPr lang="en-US" sz="1800" dirty="0"/>
          </a:p>
          <a:p>
            <a:pPr marL="252000" indent="-252000" algn="just" rtl="1">
              <a:spcBef>
                <a:spcPts val="1200"/>
              </a:spcBef>
              <a:buSzPct val="65000"/>
              <a:buFont typeface="+mj-lt"/>
              <a:buAutoNum type="arabicPeriod"/>
            </a:pP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تشكيل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فريد 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لأعضاء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EG" sz="1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-</a:t>
            </a:r>
            <a:r>
              <a:rPr lang="ar-SA" sz="1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شاركة الحكومات والقطاع الخاص والمؤسسات الأكاديمية في أنشطة </a:t>
            </a:r>
            <a:r>
              <a:rPr lang="ar-SA" sz="1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نظمة</a:t>
            </a:r>
            <a:endParaRPr lang="en-US" sz="1800" dirty="0"/>
          </a:p>
          <a:p>
            <a:pPr marL="252000" indent="-252000" algn="just" rtl="1">
              <a:spcBef>
                <a:spcPts val="1200"/>
              </a:spcBef>
              <a:buSzPct val="65000"/>
              <a:buFont typeface="+mj-lt"/>
              <a:buAutoNum type="arabicPeriod"/>
            </a:pPr>
            <a:r>
              <a:rPr lang="ar-EG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دور مزدوج </a:t>
            </a:r>
            <a:r>
              <a:rPr lang="ar-EG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لمنظمة معيارية مقترن</a:t>
            </a:r>
            <a:r>
              <a:rPr lang="ar-EG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خبرة في مجال تنفيذ </a:t>
            </a:r>
            <a:r>
              <a:rPr lang="ar-EG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بادرات </a:t>
            </a:r>
            <a:r>
              <a:rPr lang="ar-EG" sz="18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إنمائية</a:t>
            </a:r>
            <a:endParaRPr lang="en-US" sz="1800" b="1" dirty="0"/>
          </a:p>
          <a:p>
            <a:pPr marL="252000" indent="-252000" algn="just" rtl="1">
              <a:spcBef>
                <a:spcPts val="1200"/>
              </a:spcBef>
              <a:buSzPct val="65000"/>
              <a:buFont typeface="+mj-lt"/>
              <a:buAutoNum type="arabicPeriod"/>
            </a:pP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كانة بارزة لتعزيز الدور </a:t>
            </a:r>
            <a:r>
              <a:rPr lang="ar-SA" sz="1800" b="1" dirty="0" err="1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مكيني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لتكنولوجيا المعلومات والاتصالات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بغية تسريع وتيرة تنفيذ 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هداف التنمية </a:t>
            </a:r>
            <a:r>
              <a:rPr lang="ar-SA" sz="18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تدامة</a:t>
            </a:r>
            <a:endParaRPr lang="en-US" sz="1800" b="1" dirty="0"/>
          </a:p>
          <a:p>
            <a:pPr marL="252000" indent="-252000" algn="just" rtl="1">
              <a:spcBef>
                <a:spcPts val="1200"/>
              </a:spcBef>
              <a:buSzPct val="65000"/>
              <a:buFont typeface="+mj-lt"/>
              <a:buAutoNum type="arabicPeriod"/>
            </a:pP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نصة عالمية محايدة شاملة للجميع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- 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علامة قوية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ذات 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سمعة </a:t>
            </a:r>
            <a:r>
              <a:rPr lang="ar-SA" sz="18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جيدة</a:t>
            </a:r>
            <a:endParaRPr lang="en-US" sz="1800" b="1" dirty="0"/>
          </a:p>
          <a:p>
            <a:pPr marL="252000" indent="-252000" algn="just" rtl="1">
              <a:spcBef>
                <a:spcPts val="1200"/>
              </a:spcBef>
              <a:buSzPct val="65000"/>
              <a:buFont typeface="+mj-lt"/>
              <a:buAutoNum type="arabicPeriod"/>
            </a:pP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شراكات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ع 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أصحاب المصلحة الرئيسيين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تعاون </a:t>
            </a:r>
            <a:r>
              <a:rPr lang="ar-SA" sz="18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ثيق</a:t>
            </a:r>
            <a:endParaRPr lang="en-US" sz="1800" b="1" dirty="0"/>
          </a:p>
          <a:p>
            <a:pPr marL="252000" indent="-252000" algn="just" rtl="1">
              <a:spcBef>
                <a:spcPts val="1200"/>
              </a:spcBef>
              <a:buSzPct val="65000"/>
              <a:buFont typeface="+mj-lt"/>
              <a:buAutoNum type="arabicPeriod"/>
            </a:pP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هيكل اتحادي - 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يوفر المزيد من التركيز على مجالات </a:t>
            </a:r>
            <a:r>
              <a:rPr lang="ar-SA" sz="1800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محددة</a:t>
            </a:r>
            <a:endParaRPr lang="en-US" sz="1800" dirty="0"/>
          </a:p>
          <a:p>
            <a:pPr marL="252000" indent="-252000" algn="just" rtl="1">
              <a:spcBef>
                <a:spcPts val="1200"/>
              </a:spcBef>
              <a:buSzPct val="65000"/>
              <a:buFont typeface="+mj-lt"/>
              <a:buAutoNum type="arabicPeriod"/>
            </a:pP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شرعية والقدرة على تنظيم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مؤتمرات وأحداث دولية </a:t>
            </a:r>
            <a:r>
              <a:rPr lang="ar-SA" sz="1800" dirty="0" smtClean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رئيسية</a:t>
            </a:r>
            <a:endParaRPr lang="en-US" sz="1800" dirty="0" smtClean="0"/>
          </a:p>
          <a:p>
            <a:pPr marL="252000" indent="-252000" algn="just" rtl="1">
              <a:spcBef>
                <a:spcPts val="1200"/>
              </a:spcBef>
              <a:buSzPct val="65000"/>
              <a:buFont typeface="+mj-lt"/>
              <a:buAutoNum type="arabicPeriod"/>
            </a:pP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عرفة والمهارات التي يتمتع بها أعضاء الاتحاد وموظفوه في 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مسائل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التقنية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كالاتصالات الراديوية والتقييس) </a:t>
            </a:r>
            <a:r>
              <a:rPr lang="ar-SA" sz="1800" b="1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ومسائل السياسة العامة والمسائل التنظيمية والإحصاءات والتنمية</a:t>
            </a:r>
            <a:r>
              <a:rPr lang="ar-SA" sz="1800" dirty="0">
                <a:latin typeface="Calibri" panose="020F0502020204030204" pitchFamily="34" charset="0"/>
                <a:ea typeface="Times New Roman" panose="02020603050405020304" pitchFamily="18" charset="0"/>
                <a:cs typeface="Traditional Arabic" panose="02020603050405020304" pitchFamily="18" charset="-78"/>
              </a:rPr>
              <a:t> (الاستقطاب الجماهيري للمهارات)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0555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8PvkNZjUudGOm03jYt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8PvkNZjUudGOm03jYt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8PvkNZjUudGOm03jYt2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dian">
  <a:themeElements>
    <a:clrScheme name="ITU-15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498BC9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Upper-median">
  <a:themeElements>
    <a:clrScheme name="ITU-15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498BC9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AEECEB53478D4FA58D21D6251A617C" ma:contentTypeVersion="0" ma:contentTypeDescription="Create a new document." ma:contentTypeScope="" ma:versionID="3a61f5a699ba4690e4307edfa93c257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7DDB074-D6F8-4121-8E6F-B4C7EA7418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BA9A0B1-5F54-45EF-A28F-0B2FAC4CADC9}">
  <ds:schemaRefs>
    <ds:schemaRef ds:uri="http://schemas.microsoft.com/office/2006/metadata/properties"/>
    <ds:schemaRef ds:uri="http://purl.org/dc/elements/1.1/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B469251-26C4-4223-92C9-72D773D1A1B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662</TotalTime>
  <Words>3942</Words>
  <Application>Microsoft Office PowerPoint</Application>
  <PresentationFormat>On-screen Show (4:3)</PresentationFormat>
  <Paragraphs>1002</Paragraphs>
  <Slides>68</Slides>
  <Notes>68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68</vt:i4>
      </vt:variant>
    </vt:vector>
  </HeadingPairs>
  <TitlesOfParts>
    <vt:vector size="80" baseType="lpstr">
      <vt:lpstr>Noto Sans Symbols</vt:lpstr>
      <vt:lpstr>宋体</vt:lpstr>
      <vt:lpstr>宋体</vt:lpstr>
      <vt:lpstr>Arial</vt:lpstr>
      <vt:lpstr>Calibri</vt:lpstr>
      <vt:lpstr>Symbol</vt:lpstr>
      <vt:lpstr>Times New Roman</vt:lpstr>
      <vt:lpstr>Traditional Arabic</vt:lpstr>
      <vt:lpstr>Wingdings</vt:lpstr>
      <vt:lpstr>Wingdings 2</vt:lpstr>
      <vt:lpstr>Median</vt:lpstr>
      <vt:lpstr>Upper-median</vt:lpstr>
      <vt:lpstr>PowerPoint Presentation</vt:lpstr>
      <vt:lpstr>مدخلات الأمانة المقدمة إلى فريق العمل</vt:lpstr>
      <vt:lpstr>خطة عمل فريق العمل المعني بالتخطيط الاستراتيجي</vt:lpstr>
      <vt:lpstr>تحليل الحالة/تحليل استراتيجي</vt:lpstr>
      <vt:lpstr>الإطار الاستراتيجي للاتحاد للفترة 2019-2016</vt:lpstr>
      <vt:lpstr>المفاهيم الجديدة المدرجة في الخطة الاستراتيجية  للفترة 2019-2016</vt:lpstr>
      <vt:lpstr>الدروس المستفادة من الخطة الاستراتيجية  للفترة 2019-2016</vt:lpstr>
      <vt:lpstr>تحليل استراتيجي/تحليل الحالة</vt:lpstr>
      <vt:lpstr>مواطن القوة لدى الاتحاد</vt:lpstr>
      <vt:lpstr>نقاط الضعف لدى الاتحاد</vt:lpstr>
      <vt:lpstr>الفرص المتاحة</vt:lpstr>
      <vt:lpstr>المخاطر</vt:lpstr>
      <vt:lpstr>الشركاء الرئيسيون</vt:lpstr>
      <vt:lpstr>رؤية الاتحاد ورسالته وقيمه</vt:lpstr>
      <vt:lpstr>الرؤية</vt:lpstr>
      <vt:lpstr>الرؤية - اقتراح للمناقشة</vt:lpstr>
      <vt:lpstr>الرسالة</vt:lpstr>
      <vt:lpstr>الرسالة - اقتراح للمناقشة</vt:lpstr>
      <vt:lpstr>القيم</vt:lpstr>
      <vt:lpstr>القيم - اقتراح</vt:lpstr>
      <vt:lpstr>الغايات الاستراتيجية - اقتراح لإدخال تعديلات</vt:lpstr>
      <vt:lpstr>المقاصد الاستراتيجية – يجري استعراضها</vt:lpstr>
      <vt:lpstr>الغاية 1</vt:lpstr>
      <vt:lpstr>الغاية 2</vt:lpstr>
      <vt:lpstr>الغاية 3 (الاستدامة)، 4 (الابتكار) و5 (الشراكة)</vt:lpstr>
      <vt:lpstr>المخاطر الاستراتيجية</vt:lpstr>
      <vt:lpstr>لمحة عامة عن المخاطر الاستراتيجية</vt:lpstr>
      <vt:lpstr>الخطر الاستراتيجي 1</vt:lpstr>
      <vt:lpstr>الخطر الاستراتيجي 2</vt:lpstr>
      <vt:lpstr>الخطر الاستراتيجي 3</vt:lpstr>
      <vt:lpstr>الخطر الاستراتيجي 4</vt:lpstr>
      <vt:lpstr>الخطر الاستراتيجي 5</vt:lpstr>
      <vt:lpstr>الخطر الاستراتيجي 6</vt:lpstr>
      <vt:lpstr>الربط بأهداف التنمية المستدامة</vt:lpstr>
      <vt:lpstr>مثال من الاتحاد البريدي العالمي</vt:lpstr>
      <vt:lpstr>مثال من المنظمة العالمية للملكية الفكرية</vt:lpstr>
      <vt:lpstr>مثال من برنامج الأغذية العالمي</vt:lpstr>
      <vt:lpstr>النهج المقترح: تقابل أهداف التنمية المستدامة</vt:lpstr>
      <vt:lpstr>الربط بأهداف التنمية المستدامة: التقابل على مستوى الأهداف</vt:lpstr>
      <vt:lpstr>النهج المقترح: التقابل مع أهداف التنمية المستدامة</vt:lpstr>
      <vt:lpstr>إطار نتائج الاتحاد</vt:lpstr>
      <vt:lpstr>1.R (لوائح استخدام الطيف)</vt:lpstr>
      <vt:lpstr>2.R (معايير الاتصالات الراديوية)</vt:lpstr>
      <vt:lpstr>3.R (نشر المعلومات)</vt:lpstr>
      <vt:lpstr>1.T (وضع المعايير)</vt:lpstr>
      <vt:lpstr>2.T (سد الفجوة في مجال التقييس)</vt:lpstr>
      <vt:lpstr>3.T (موارد الاتصالات)</vt:lpstr>
      <vt:lpstr>4.T (تبادل المعارف)</vt:lpstr>
      <vt:lpstr>5.T (التعاون مع هيئات التقييس)</vt:lpstr>
      <vt:lpstr>1.D (التنسيق)</vt:lpstr>
      <vt:lpstr>2.D (بنية تحتية حديثة وآمنة للاتصالات/تكنولوجيا المعلومات والاتصالات)</vt:lpstr>
      <vt:lpstr>3.D (بيئة تمكينية)</vt:lpstr>
      <vt:lpstr>4.D (مجتمع رقمي شامل)</vt:lpstr>
      <vt:lpstr>الأهداف المشتركة بين القطاعات (الهدف 1.I الجديد)</vt:lpstr>
      <vt:lpstr>الأهداف المشتركة بين القطاعات (الهدف 2.I الجديد)</vt:lpstr>
      <vt:lpstr>الأهداف المشتركة بين القطاعات</vt:lpstr>
      <vt:lpstr>الأهداف المشتركة بين القطاعات (الهدف 3.I الجديد)</vt:lpstr>
      <vt:lpstr>الأهداف المشتركة بين القطاعات (الهدفان 4.I و5.I الجديدان)</vt:lpstr>
      <vt:lpstr>اقتراح أهداف مشتركة بين القطاعات</vt:lpstr>
      <vt:lpstr>1.I (التعاون)</vt:lpstr>
      <vt:lpstr>2.I (الاتجاهات الناشئة في مجال تكنولوجيا المعلومات والاتصالات)</vt:lpstr>
      <vt:lpstr>3.I (إمكانية النفاذ إلى تكنولوجيا المعلومات والاتصالات)</vt:lpstr>
      <vt:lpstr>4.I (المساواة بين الجنسين)</vt:lpstr>
      <vt:lpstr>5.I (الاستدامة البيئية)</vt:lpstr>
      <vt:lpstr>أهداف القطاعات مقابل عمل المكاتب</vt:lpstr>
      <vt:lpstr>العوامل التمكينية</vt:lpstr>
      <vt:lpstr>مثال: عمل الأمانة مقابل عمل الاتحاد في إطار أهداف التنمية المستدامة</vt:lpstr>
      <vt:lpstr>العوامل التمكينية - دور الأمانة العامة والمكاتب</vt:lpstr>
    </vt:vector>
  </TitlesOfParts>
  <Company>ITU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gglesis, Vaggelis</dc:creator>
  <cp:lastModifiedBy>Imad RIZ</cp:lastModifiedBy>
  <cp:revision>2620</cp:revision>
  <cp:lastPrinted>2017-09-06T13:58:21Z</cp:lastPrinted>
  <dcterms:created xsi:type="dcterms:W3CDTF">2011-09-07T08:28:06Z</dcterms:created>
  <dcterms:modified xsi:type="dcterms:W3CDTF">2017-09-11T14:3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1AEECEB53478D4FA58D21D6251A617C</vt:lpwstr>
  </property>
</Properties>
</file>